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671" r:id="rId4"/>
    <p:sldMasterId id="2147484693" r:id="rId5"/>
  </p:sldMasterIdLst>
  <p:notesMasterIdLst>
    <p:notesMasterId r:id="rId12"/>
  </p:notesMasterIdLst>
  <p:handoutMasterIdLst>
    <p:handoutMasterId r:id="rId13"/>
  </p:handoutMasterIdLst>
  <p:sldIdLst>
    <p:sldId id="2145706106" r:id="rId6"/>
    <p:sldId id="2145706110" r:id="rId7"/>
    <p:sldId id="2145706108" r:id="rId8"/>
    <p:sldId id="2145706109" r:id="rId9"/>
    <p:sldId id="2145706107" r:id="rId10"/>
    <p:sldId id="2145706111" r:id="rId11"/>
  </p:sldIdLst>
  <p:sldSz cx="11522075" cy="6480175"/>
  <p:notesSz cx="6797675" cy="9928225"/>
  <p:custDataLst>
    <p:tags r:id="rId14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IS" id="{1D5095D5-6BEA-43F9-987B-AEC38D6E12F6}">
          <p14:sldIdLst>
            <p14:sldId id="2145706106"/>
            <p14:sldId id="2145706110"/>
            <p14:sldId id="2145706108"/>
            <p14:sldId id="2145706109"/>
            <p14:sldId id="2145706107"/>
            <p14:sldId id="2145706111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pos="299" userDrawn="1">
          <p15:clr>
            <a:srgbClr val="A4A3A4"/>
          </p15:clr>
        </p15:guide>
        <p15:guide id="4" pos="398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1" name="Autor" initials="A" lastIdx="0" clrIdx="1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2F2F2"/>
    <a:srgbClr val="A7D2C8"/>
    <a:srgbClr val="E20074"/>
    <a:srgbClr val="BFCB44"/>
    <a:srgbClr val="1BADA2"/>
    <a:srgbClr val="53BAF2"/>
    <a:srgbClr val="D0D0D0"/>
    <a:srgbClr val="E5E5E5"/>
    <a:srgbClr val="1063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69BFD4-F4A0-4F95-B48D-9B396BC8750F}" v="31" dt="2022-04-05T07:04:09.4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9" autoAdjust="0"/>
    <p:restoredTop sz="93082" autoAdjust="0"/>
  </p:normalViewPr>
  <p:slideViewPr>
    <p:cSldViewPr snapToGrid="0" snapToObjects="1">
      <p:cViewPr varScale="1">
        <p:scale>
          <a:sx n="123" d="100"/>
          <a:sy n="123" d="100"/>
        </p:scale>
        <p:origin x="96" y="162"/>
      </p:cViewPr>
      <p:guideLst>
        <p:guide orient="horz" pos="204"/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4014" y="96"/>
      </p:cViewPr>
      <p:guideLst>
        <p:guide orient="horz" pos="3127"/>
        <p:guide pos="2141"/>
        <p:guide pos="299"/>
        <p:guide pos="398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855015" y="9381000"/>
            <a:ext cx="467452" cy="304883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sp>
        <p:nvSpPr>
          <p:cNvPr id="4" name="Freeform 5"/>
          <p:cNvSpPr>
            <a:spLocks/>
          </p:cNvSpPr>
          <p:nvPr/>
        </p:nvSpPr>
        <p:spPr bwMode="auto">
          <a:xfrm>
            <a:off x="478355" y="424018"/>
            <a:ext cx="66089" cy="70670"/>
          </a:xfrm>
          <a:custGeom>
            <a:avLst/>
            <a:gdLst>
              <a:gd name="T0" fmla="*/ 0 w 42"/>
              <a:gd name="T1" fmla="*/ 41 h 41"/>
              <a:gd name="T2" fmla="*/ 0 w 42"/>
              <a:gd name="T3" fmla="*/ 0 h 41"/>
              <a:gd name="T4" fmla="*/ 22 w 42"/>
              <a:gd name="T5" fmla="*/ 0 h 41"/>
              <a:gd name="T6" fmla="*/ 42 w 42"/>
              <a:gd name="T7" fmla="*/ 0 h 41"/>
              <a:gd name="T8" fmla="*/ 42 w 42"/>
              <a:gd name="T9" fmla="*/ 41 h 41"/>
              <a:gd name="T10" fmla="*/ 0 w 42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1">
                <a:moveTo>
                  <a:pt x="0" y="41"/>
                </a:moveTo>
                <a:lnTo>
                  <a:pt x="0" y="0"/>
                </a:lnTo>
                <a:lnTo>
                  <a:pt x="22" y="0"/>
                </a:lnTo>
                <a:lnTo>
                  <a:pt x="42" y="0"/>
                </a:lnTo>
                <a:lnTo>
                  <a:pt x="42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676621" y="424018"/>
            <a:ext cx="64515" cy="70670"/>
          </a:xfrm>
          <a:custGeom>
            <a:avLst/>
            <a:gdLst>
              <a:gd name="T0" fmla="*/ 0 w 41"/>
              <a:gd name="T1" fmla="*/ 41 h 41"/>
              <a:gd name="T2" fmla="*/ 0 w 41"/>
              <a:gd name="T3" fmla="*/ 0 h 41"/>
              <a:gd name="T4" fmla="*/ 20 w 41"/>
              <a:gd name="T5" fmla="*/ 0 h 41"/>
              <a:gd name="T6" fmla="*/ 41 w 41"/>
              <a:gd name="T7" fmla="*/ 0 h 41"/>
              <a:gd name="T8" fmla="*/ 41 w 41"/>
              <a:gd name="T9" fmla="*/ 41 h 41"/>
              <a:gd name="T10" fmla="*/ 0 w 41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41">
                <a:moveTo>
                  <a:pt x="0" y="41"/>
                </a:moveTo>
                <a:lnTo>
                  <a:pt x="0" y="0"/>
                </a:lnTo>
                <a:lnTo>
                  <a:pt x="20" y="0"/>
                </a:lnTo>
                <a:lnTo>
                  <a:pt x="41" y="0"/>
                </a:lnTo>
                <a:lnTo>
                  <a:pt x="41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871739" y="424018"/>
            <a:ext cx="64515" cy="70670"/>
          </a:xfrm>
          <a:custGeom>
            <a:avLst/>
            <a:gdLst>
              <a:gd name="T0" fmla="*/ 0 w 41"/>
              <a:gd name="T1" fmla="*/ 41 h 41"/>
              <a:gd name="T2" fmla="*/ 0 w 41"/>
              <a:gd name="T3" fmla="*/ 0 h 41"/>
              <a:gd name="T4" fmla="*/ 21 w 41"/>
              <a:gd name="T5" fmla="*/ 0 h 41"/>
              <a:gd name="T6" fmla="*/ 41 w 41"/>
              <a:gd name="T7" fmla="*/ 0 h 41"/>
              <a:gd name="T8" fmla="*/ 41 w 41"/>
              <a:gd name="T9" fmla="*/ 41 h 41"/>
              <a:gd name="T10" fmla="*/ 0 w 41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41">
                <a:moveTo>
                  <a:pt x="0" y="41"/>
                </a:moveTo>
                <a:lnTo>
                  <a:pt x="0" y="0"/>
                </a:lnTo>
                <a:lnTo>
                  <a:pt x="21" y="0"/>
                </a:lnTo>
                <a:lnTo>
                  <a:pt x="41" y="0"/>
                </a:lnTo>
                <a:lnTo>
                  <a:pt x="41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3" name="Freeform 8"/>
          <p:cNvSpPr>
            <a:spLocks/>
          </p:cNvSpPr>
          <p:nvPr/>
        </p:nvSpPr>
        <p:spPr bwMode="auto">
          <a:xfrm>
            <a:off x="1065285" y="424018"/>
            <a:ext cx="66089" cy="70670"/>
          </a:xfrm>
          <a:custGeom>
            <a:avLst/>
            <a:gdLst>
              <a:gd name="T0" fmla="*/ 0 w 42"/>
              <a:gd name="T1" fmla="*/ 41 h 41"/>
              <a:gd name="T2" fmla="*/ 0 w 42"/>
              <a:gd name="T3" fmla="*/ 0 h 41"/>
              <a:gd name="T4" fmla="*/ 21 w 42"/>
              <a:gd name="T5" fmla="*/ 0 h 41"/>
              <a:gd name="T6" fmla="*/ 42 w 42"/>
              <a:gd name="T7" fmla="*/ 0 h 41"/>
              <a:gd name="T8" fmla="*/ 42 w 42"/>
              <a:gd name="T9" fmla="*/ 41 h 41"/>
              <a:gd name="T10" fmla="*/ 0 w 42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1">
                <a:moveTo>
                  <a:pt x="0" y="41"/>
                </a:moveTo>
                <a:lnTo>
                  <a:pt x="0" y="0"/>
                </a:lnTo>
                <a:lnTo>
                  <a:pt x="21" y="0"/>
                </a:lnTo>
                <a:lnTo>
                  <a:pt x="42" y="0"/>
                </a:lnTo>
                <a:lnTo>
                  <a:pt x="42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4" name="Freeform 9"/>
          <p:cNvSpPr>
            <a:spLocks/>
          </p:cNvSpPr>
          <p:nvPr/>
        </p:nvSpPr>
        <p:spPr bwMode="auto">
          <a:xfrm>
            <a:off x="478355" y="261995"/>
            <a:ext cx="262781" cy="351625"/>
          </a:xfrm>
          <a:custGeom>
            <a:avLst/>
            <a:gdLst>
              <a:gd name="T0" fmla="*/ 402 w 407"/>
              <a:gd name="T1" fmla="*/ 0 h 496"/>
              <a:gd name="T2" fmla="*/ 5 w 407"/>
              <a:gd name="T3" fmla="*/ 0 h 496"/>
              <a:gd name="T4" fmla="*/ 0 w 407"/>
              <a:gd name="T5" fmla="*/ 175 h 496"/>
              <a:gd name="T6" fmla="*/ 26 w 407"/>
              <a:gd name="T7" fmla="*/ 179 h 496"/>
              <a:gd name="T8" fmla="*/ 67 w 407"/>
              <a:gd name="T9" fmla="*/ 64 h 496"/>
              <a:gd name="T10" fmla="*/ 164 w 407"/>
              <a:gd name="T11" fmla="*/ 23 h 496"/>
              <a:gd name="T12" fmla="*/ 164 w 407"/>
              <a:gd name="T13" fmla="*/ 390 h 496"/>
              <a:gd name="T14" fmla="*/ 150 w 407"/>
              <a:gd name="T15" fmla="*/ 452 h 496"/>
              <a:gd name="T16" fmla="*/ 110 w 407"/>
              <a:gd name="T17" fmla="*/ 467 h 496"/>
              <a:gd name="T18" fmla="*/ 81 w 407"/>
              <a:gd name="T19" fmla="*/ 468 h 496"/>
              <a:gd name="T20" fmla="*/ 81 w 407"/>
              <a:gd name="T21" fmla="*/ 496 h 496"/>
              <a:gd name="T22" fmla="*/ 326 w 407"/>
              <a:gd name="T23" fmla="*/ 496 h 496"/>
              <a:gd name="T24" fmla="*/ 326 w 407"/>
              <a:gd name="T25" fmla="*/ 468 h 496"/>
              <a:gd name="T26" fmla="*/ 297 w 407"/>
              <a:gd name="T27" fmla="*/ 467 h 496"/>
              <a:gd name="T28" fmla="*/ 257 w 407"/>
              <a:gd name="T29" fmla="*/ 452 h 496"/>
              <a:gd name="T30" fmla="*/ 243 w 407"/>
              <a:gd name="T31" fmla="*/ 390 h 496"/>
              <a:gd name="T32" fmla="*/ 243 w 407"/>
              <a:gd name="T33" fmla="*/ 23 h 496"/>
              <a:gd name="T34" fmla="*/ 340 w 407"/>
              <a:gd name="T35" fmla="*/ 64 h 496"/>
              <a:gd name="T36" fmla="*/ 381 w 407"/>
              <a:gd name="T37" fmla="*/ 179 h 496"/>
              <a:gd name="T38" fmla="*/ 407 w 407"/>
              <a:gd name="T39" fmla="*/ 175 h 496"/>
              <a:gd name="T40" fmla="*/ 402 w 407"/>
              <a:gd name="T41" fmla="*/ 0 h 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07" h="496">
                <a:moveTo>
                  <a:pt x="402" y="0"/>
                </a:moveTo>
                <a:cubicBezTo>
                  <a:pt x="5" y="0"/>
                  <a:pt x="5" y="0"/>
                  <a:pt x="5" y="0"/>
                </a:cubicBezTo>
                <a:cubicBezTo>
                  <a:pt x="0" y="175"/>
                  <a:pt x="0" y="175"/>
                  <a:pt x="0" y="175"/>
                </a:cubicBezTo>
                <a:cubicBezTo>
                  <a:pt x="26" y="179"/>
                  <a:pt x="26" y="179"/>
                  <a:pt x="26" y="179"/>
                </a:cubicBezTo>
                <a:cubicBezTo>
                  <a:pt x="31" y="128"/>
                  <a:pt x="45" y="89"/>
                  <a:pt x="67" y="64"/>
                </a:cubicBezTo>
                <a:cubicBezTo>
                  <a:pt x="90" y="38"/>
                  <a:pt x="122" y="25"/>
                  <a:pt x="164" y="23"/>
                </a:cubicBezTo>
                <a:cubicBezTo>
                  <a:pt x="164" y="390"/>
                  <a:pt x="164" y="390"/>
                  <a:pt x="164" y="390"/>
                </a:cubicBezTo>
                <a:cubicBezTo>
                  <a:pt x="164" y="422"/>
                  <a:pt x="159" y="442"/>
                  <a:pt x="150" y="452"/>
                </a:cubicBezTo>
                <a:cubicBezTo>
                  <a:pt x="142" y="460"/>
                  <a:pt x="129" y="465"/>
                  <a:pt x="110" y="467"/>
                </a:cubicBezTo>
                <a:cubicBezTo>
                  <a:pt x="104" y="467"/>
                  <a:pt x="95" y="468"/>
                  <a:pt x="81" y="468"/>
                </a:cubicBezTo>
                <a:cubicBezTo>
                  <a:pt x="81" y="496"/>
                  <a:pt x="81" y="496"/>
                  <a:pt x="81" y="496"/>
                </a:cubicBezTo>
                <a:cubicBezTo>
                  <a:pt x="326" y="496"/>
                  <a:pt x="326" y="496"/>
                  <a:pt x="326" y="496"/>
                </a:cubicBezTo>
                <a:cubicBezTo>
                  <a:pt x="326" y="468"/>
                  <a:pt x="326" y="468"/>
                  <a:pt x="326" y="468"/>
                </a:cubicBezTo>
                <a:cubicBezTo>
                  <a:pt x="312" y="468"/>
                  <a:pt x="303" y="467"/>
                  <a:pt x="297" y="467"/>
                </a:cubicBezTo>
                <a:cubicBezTo>
                  <a:pt x="278" y="465"/>
                  <a:pt x="265" y="460"/>
                  <a:pt x="257" y="452"/>
                </a:cubicBezTo>
                <a:cubicBezTo>
                  <a:pt x="248" y="442"/>
                  <a:pt x="243" y="422"/>
                  <a:pt x="243" y="390"/>
                </a:cubicBezTo>
                <a:cubicBezTo>
                  <a:pt x="243" y="23"/>
                  <a:pt x="243" y="23"/>
                  <a:pt x="243" y="23"/>
                </a:cubicBezTo>
                <a:cubicBezTo>
                  <a:pt x="284" y="25"/>
                  <a:pt x="317" y="38"/>
                  <a:pt x="340" y="64"/>
                </a:cubicBezTo>
                <a:cubicBezTo>
                  <a:pt x="362" y="89"/>
                  <a:pt x="376" y="128"/>
                  <a:pt x="381" y="179"/>
                </a:cubicBezTo>
                <a:cubicBezTo>
                  <a:pt x="407" y="175"/>
                  <a:pt x="407" y="175"/>
                  <a:pt x="407" y="175"/>
                </a:cubicBezTo>
                <a:lnTo>
                  <a:pt x="402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32" name="Gruppieren 31"/>
          <p:cNvGrpSpPr/>
          <p:nvPr/>
        </p:nvGrpSpPr>
        <p:grpSpPr>
          <a:xfrm>
            <a:off x="5208404" y="411954"/>
            <a:ext cx="1109343" cy="93077"/>
            <a:chOff x="1533525" y="379413"/>
            <a:chExt cx="1119188" cy="85725"/>
          </a:xfrm>
        </p:grpSpPr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1533525" y="381000"/>
              <a:ext cx="50800" cy="82550"/>
            </a:xfrm>
            <a:custGeom>
              <a:avLst/>
              <a:gdLst>
                <a:gd name="T0" fmla="*/ 0 w 32"/>
                <a:gd name="T1" fmla="*/ 52 h 52"/>
                <a:gd name="T2" fmla="*/ 0 w 32"/>
                <a:gd name="T3" fmla="*/ 0 h 52"/>
                <a:gd name="T4" fmla="*/ 11 w 32"/>
                <a:gd name="T5" fmla="*/ 0 h 52"/>
                <a:gd name="T6" fmla="*/ 11 w 32"/>
                <a:gd name="T7" fmla="*/ 42 h 52"/>
                <a:gd name="T8" fmla="*/ 32 w 32"/>
                <a:gd name="T9" fmla="*/ 42 h 52"/>
                <a:gd name="T10" fmla="*/ 32 w 32"/>
                <a:gd name="T11" fmla="*/ 52 h 52"/>
                <a:gd name="T12" fmla="*/ 0 w 32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42"/>
                  </a:lnTo>
                  <a:lnTo>
                    <a:pt x="32" y="42"/>
                  </a:lnTo>
                  <a:lnTo>
                    <a:pt x="32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593850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627188" y="381000"/>
              <a:ext cx="49213" cy="82550"/>
            </a:xfrm>
            <a:custGeom>
              <a:avLst/>
              <a:gdLst>
                <a:gd name="T0" fmla="*/ 0 w 31"/>
                <a:gd name="T1" fmla="*/ 52 h 52"/>
                <a:gd name="T2" fmla="*/ 0 w 31"/>
                <a:gd name="T3" fmla="*/ 0 h 52"/>
                <a:gd name="T4" fmla="*/ 31 w 31"/>
                <a:gd name="T5" fmla="*/ 0 h 52"/>
                <a:gd name="T6" fmla="*/ 31 w 31"/>
                <a:gd name="T7" fmla="*/ 10 h 52"/>
                <a:gd name="T8" fmla="*/ 11 w 31"/>
                <a:gd name="T9" fmla="*/ 10 h 52"/>
                <a:gd name="T10" fmla="*/ 11 w 31"/>
                <a:gd name="T11" fmla="*/ 22 h 52"/>
                <a:gd name="T12" fmla="*/ 29 w 31"/>
                <a:gd name="T13" fmla="*/ 22 h 52"/>
                <a:gd name="T14" fmla="*/ 29 w 31"/>
                <a:gd name="T15" fmla="*/ 31 h 52"/>
                <a:gd name="T16" fmla="*/ 11 w 31"/>
                <a:gd name="T17" fmla="*/ 31 h 52"/>
                <a:gd name="T18" fmla="*/ 11 w 31"/>
                <a:gd name="T19" fmla="*/ 52 h 52"/>
                <a:gd name="T20" fmla="*/ 0 w 31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52">
                  <a:moveTo>
                    <a:pt x="0" y="52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0"/>
                  </a:lnTo>
                  <a:lnTo>
                    <a:pt x="11" y="10"/>
                  </a:lnTo>
                  <a:lnTo>
                    <a:pt x="11" y="22"/>
                  </a:lnTo>
                  <a:lnTo>
                    <a:pt x="29" y="22"/>
                  </a:lnTo>
                  <a:lnTo>
                    <a:pt x="29" y="31"/>
                  </a:lnTo>
                  <a:lnTo>
                    <a:pt x="11" y="31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1687513" y="381000"/>
              <a:ext cx="53975" cy="82550"/>
            </a:xfrm>
            <a:custGeom>
              <a:avLst/>
              <a:gdLst>
                <a:gd name="T0" fmla="*/ 0 w 34"/>
                <a:gd name="T1" fmla="*/ 52 h 52"/>
                <a:gd name="T2" fmla="*/ 0 w 34"/>
                <a:gd name="T3" fmla="*/ 0 h 52"/>
                <a:gd name="T4" fmla="*/ 33 w 34"/>
                <a:gd name="T5" fmla="*/ 0 h 52"/>
                <a:gd name="T6" fmla="*/ 33 w 34"/>
                <a:gd name="T7" fmla="*/ 10 h 52"/>
                <a:gd name="T8" fmla="*/ 11 w 34"/>
                <a:gd name="T9" fmla="*/ 10 h 52"/>
                <a:gd name="T10" fmla="*/ 11 w 34"/>
                <a:gd name="T11" fmla="*/ 21 h 52"/>
                <a:gd name="T12" fmla="*/ 31 w 34"/>
                <a:gd name="T13" fmla="*/ 21 h 52"/>
                <a:gd name="T14" fmla="*/ 31 w 34"/>
                <a:gd name="T15" fmla="*/ 30 h 52"/>
                <a:gd name="T16" fmla="*/ 11 w 34"/>
                <a:gd name="T17" fmla="*/ 30 h 52"/>
                <a:gd name="T18" fmla="*/ 11 w 34"/>
                <a:gd name="T19" fmla="*/ 43 h 52"/>
                <a:gd name="T20" fmla="*/ 34 w 34"/>
                <a:gd name="T21" fmla="*/ 43 h 52"/>
                <a:gd name="T22" fmla="*/ 34 w 34"/>
                <a:gd name="T23" fmla="*/ 52 h 52"/>
                <a:gd name="T24" fmla="*/ 0 w 34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52">
                  <a:moveTo>
                    <a:pt x="0" y="52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33" y="10"/>
                  </a:lnTo>
                  <a:lnTo>
                    <a:pt x="11" y="10"/>
                  </a:lnTo>
                  <a:lnTo>
                    <a:pt x="11" y="21"/>
                  </a:lnTo>
                  <a:lnTo>
                    <a:pt x="31" y="21"/>
                  </a:lnTo>
                  <a:lnTo>
                    <a:pt x="31" y="30"/>
                  </a:lnTo>
                  <a:lnTo>
                    <a:pt x="11" y="30"/>
                  </a:lnTo>
                  <a:lnTo>
                    <a:pt x="11" y="43"/>
                  </a:lnTo>
                  <a:lnTo>
                    <a:pt x="34" y="43"/>
                  </a:lnTo>
                  <a:lnTo>
                    <a:pt x="34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1784350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1814513" y="379413"/>
              <a:ext cx="57150" cy="85725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1914525" y="381000"/>
              <a:ext cx="49213" cy="82550"/>
            </a:xfrm>
            <a:custGeom>
              <a:avLst/>
              <a:gdLst>
                <a:gd name="T0" fmla="*/ 0 w 31"/>
                <a:gd name="T1" fmla="*/ 52 h 52"/>
                <a:gd name="T2" fmla="*/ 0 w 31"/>
                <a:gd name="T3" fmla="*/ 0 h 52"/>
                <a:gd name="T4" fmla="*/ 31 w 31"/>
                <a:gd name="T5" fmla="*/ 0 h 52"/>
                <a:gd name="T6" fmla="*/ 31 w 31"/>
                <a:gd name="T7" fmla="*/ 10 h 52"/>
                <a:gd name="T8" fmla="*/ 11 w 31"/>
                <a:gd name="T9" fmla="*/ 10 h 52"/>
                <a:gd name="T10" fmla="*/ 11 w 31"/>
                <a:gd name="T11" fmla="*/ 22 h 52"/>
                <a:gd name="T12" fmla="*/ 28 w 31"/>
                <a:gd name="T13" fmla="*/ 22 h 52"/>
                <a:gd name="T14" fmla="*/ 28 w 31"/>
                <a:gd name="T15" fmla="*/ 31 h 52"/>
                <a:gd name="T16" fmla="*/ 11 w 31"/>
                <a:gd name="T17" fmla="*/ 31 h 52"/>
                <a:gd name="T18" fmla="*/ 11 w 31"/>
                <a:gd name="T19" fmla="*/ 52 h 52"/>
                <a:gd name="T20" fmla="*/ 0 w 31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52">
                  <a:moveTo>
                    <a:pt x="0" y="52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0"/>
                  </a:lnTo>
                  <a:lnTo>
                    <a:pt x="11" y="10"/>
                  </a:lnTo>
                  <a:lnTo>
                    <a:pt x="11" y="22"/>
                  </a:lnTo>
                  <a:lnTo>
                    <a:pt x="28" y="22"/>
                  </a:lnTo>
                  <a:lnTo>
                    <a:pt x="28" y="31"/>
                  </a:lnTo>
                  <a:lnTo>
                    <a:pt x="11" y="31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auto">
            <a:xfrm>
              <a:off x="1970088" y="379413"/>
              <a:ext cx="69850" cy="85725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8"/>
            <p:cNvSpPr>
              <a:spLocks noEditPoints="1"/>
            </p:cNvSpPr>
            <p:nvPr/>
          </p:nvSpPr>
          <p:spPr bwMode="auto">
            <a:xfrm>
              <a:off x="2052638" y="381000"/>
              <a:ext cx="61913" cy="82550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auto">
            <a:xfrm>
              <a:off x="2154238" y="379413"/>
              <a:ext cx="57150" cy="85725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2222500" y="381000"/>
              <a:ext cx="61913" cy="82550"/>
            </a:xfrm>
            <a:custGeom>
              <a:avLst/>
              <a:gdLst>
                <a:gd name="T0" fmla="*/ 0 w 39"/>
                <a:gd name="T1" fmla="*/ 52 h 52"/>
                <a:gd name="T2" fmla="*/ 0 w 39"/>
                <a:gd name="T3" fmla="*/ 0 h 52"/>
                <a:gd name="T4" fmla="*/ 11 w 39"/>
                <a:gd name="T5" fmla="*/ 0 h 52"/>
                <a:gd name="T6" fmla="*/ 11 w 39"/>
                <a:gd name="T7" fmla="*/ 20 h 52"/>
                <a:gd name="T8" fmla="*/ 28 w 39"/>
                <a:gd name="T9" fmla="*/ 20 h 52"/>
                <a:gd name="T10" fmla="*/ 28 w 39"/>
                <a:gd name="T11" fmla="*/ 0 h 52"/>
                <a:gd name="T12" fmla="*/ 39 w 39"/>
                <a:gd name="T13" fmla="*/ 0 h 52"/>
                <a:gd name="T14" fmla="*/ 39 w 39"/>
                <a:gd name="T15" fmla="*/ 52 h 52"/>
                <a:gd name="T16" fmla="*/ 28 w 39"/>
                <a:gd name="T17" fmla="*/ 52 h 52"/>
                <a:gd name="T18" fmla="*/ 28 w 39"/>
                <a:gd name="T19" fmla="*/ 30 h 52"/>
                <a:gd name="T20" fmla="*/ 11 w 39"/>
                <a:gd name="T21" fmla="*/ 30 h 52"/>
                <a:gd name="T22" fmla="*/ 11 w 39"/>
                <a:gd name="T23" fmla="*/ 52 h 52"/>
                <a:gd name="T24" fmla="*/ 0 w 39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20"/>
                  </a:lnTo>
                  <a:lnTo>
                    <a:pt x="28" y="20"/>
                  </a:lnTo>
                  <a:lnTo>
                    <a:pt x="28" y="0"/>
                  </a:lnTo>
                  <a:lnTo>
                    <a:pt x="39" y="0"/>
                  </a:lnTo>
                  <a:lnTo>
                    <a:pt x="39" y="52"/>
                  </a:lnTo>
                  <a:lnTo>
                    <a:pt x="28" y="52"/>
                  </a:lnTo>
                  <a:lnTo>
                    <a:pt x="28" y="30"/>
                  </a:lnTo>
                  <a:lnTo>
                    <a:pt x="11" y="3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1"/>
            <p:cNvSpPr>
              <a:spLocks noEditPoints="1"/>
            </p:cNvSpPr>
            <p:nvPr/>
          </p:nvSpPr>
          <p:spPr bwMode="auto">
            <a:xfrm>
              <a:off x="2293938" y="381000"/>
              <a:ext cx="69850" cy="82550"/>
            </a:xfrm>
            <a:custGeom>
              <a:avLst/>
              <a:gdLst>
                <a:gd name="T0" fmla="*/ 16 w 44"/>
                <a:gd name="T1" fmla="*/ 0 h 52"/>
                <a:gd name="T2" fmla="*/ 27 w 44"/>
                <a:gd name="T3" fmla="*/ 0 h 52"/>
                <a:gd name="T4" fmla="*/ 44 w 44"/>
                <a:gd name="T5" fmla="*/ 52 h 52"/>
                <a:gd name="T6" fmla="*/ 32 w 44"/>
                <a:gd name="T7" fmla="*/ 52 h 52"/>
                <a:gd name="T8" fmla="*/ 29 w 44"/>
                <a:gd name="T9" fmla="*/ 41 h 52"/>
                <a:gd name="T10" fmla="*/ 14 w 44"/>
                <a:gd name="T11" fmla="*/ 41 h 52"/>
                <a:gd name="T12" fmla="*/ 11 w 44"/>
                <a:gd name="T13" fmla="*/ 52 h 52"/>
                <a:gd name="T14" fmla="*/ 0 w 44"/>
                <a:gd name="T15" fmla="*/ 52 h 52"/>
                <a:gd name="T16" fmla="*/ 16 w 44"/>
                <a:gd name="T17" fmla="*/ 0 h 52"/>
                <a:gd name="T18" fmla="*/ 17 w 44"/>
                <a:gd name="T19" fmla="*/ 32 h 52"/>
                <a:gd name="T20" fmla="*/ 27 w 44"/>
                <a:gd name="T21" fmla="*/ 32 h 52"/>
                <a:gd name="T22" fmla="*/ 21 w 44"/>
                <a:gd name="T23" fmla="*/ 14 h 52"/>
                <a:gd name="T24" fmla="*/ 17 w 44"/>
                <a:gd name="T25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52">
                  <a:moveTo>
                    <a:pt x="16" y="0"/>
                  </a:moveTo>
                  <a:lnTo>
                    <a:pt x="27" y="0"/>
                  </a:lnTo>
                  <a:lnTo>
                    <a:pt x="44" y="52"/>
                  </a:lnTo>
                  <a:lnTo>
                    <a:pt x="32" y="52"/>
                  </a:lnTo>
                  <a:lnTo>
                    <a:pt x="29" y="41"/>
                  </a:lnTo>
                  <a:lnTo>
                    <a:pt x="14" y="41"/>
                  </a:lnTo>
                  <a:lnTo>
                    <a:pt x="11" y="52"/>
                  </a:lnTo>
                  <a:lnTo>
                    <a:pt x="0" y="52"/>
                  </a:lnTo>
                  <a:lnTo>
                    <a:pt x="16" y="0"/>
                  </a:lnTo>
                  <a:close/>
                  <a:moveTo>
                    <a:pt x="17" y="32"/>
                  </a:moveTo>
                  <a:lnTo>
                    <a:pt x="27" y="32"/>
                  </a:lnTo>
                  <a:lnTo>
                    <a:pt x="21" y="14"/>
                  </a:lnTo>
                  <a:lnTo>
                    <a:pt x="17" y="3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auto">
            <a:xfrm>
              <a:off x="2371725" y="381000"/>
              <a:ext cx="61913" cy="82550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2446338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2479675" y="381000"/>
              <a:ext cx="60325" cy="82550"/>
            </a:xfrm>
            <a:custGeom>
              <a:avLst/>
              <a:gdLst>
                <a:gd name="T0" fmla="*/ 0 w 38"/>
                <a:gd name="T1" fmla="*/ 52 h 52"/>
                <a:gd name="T2" fmla="*/ 0 w 38"/>
                <a:gd name="T3" fmla="*/ 0 h 52"/>
                <a:gd name="T4" fmla="*/ 11 w 38"/>
                <a:gd name="T5" fmla="*/ 0 h 52"/>
                <a:gd name="T6" fmla="*/ 27 w 38"/>
                <a:gd name="T7" fmla="*/ 34 h 52"/>
                <a:gd name="T8" fmla="*/ 27 w 38"/>
                <a:gd name="T9" fmla="*/ 0 h 52"/>
                <a:gd name="T10" fmla="*/ 38 w 38"/>
                <a:gd name="T11" fmla="*/ 0 h 52"/>
                <a:gd name="T12" fmla="*/ 38 w 38"/>
                <a:gd name="T13" fmla="*/ 52 h 52"/>
                <a:gd name="T14" fmla="*/ 27 w 38"/>
                <a:gd name="T15" fmla="*/ 52 h 52"/>
                <a:gd name="T16" fmla="*/ 10 w 38"/>
                <a:gd name="T17" fmla="*/ 19 h 52"/>
                <a:gd name="T18" fmla="*/ 10 w 38"/>
                <a:gd name="T19" fmla="*/ 52 h 52"/>
                <a:gd name="T20" fmla="*/ 0 w 38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7" y="34"/>
                  </a:lnTo>
                  <a:lnTo>
                    <a:pt x="27" y="0"/>
                  </a:lnTo>
                  <a:lnTo>
                    <a:pt x="38" y="0"/>
                  </a:lnTo>
                  <a:lnTo>
                    <a:pt x="38" y="52"/>
                  </a:lnTo>
                  <a:lnTo>
                    <a:pt x="27" y="52"/>
                  </a:lnTo>
                  <a:lnTo>
                    <a:pt x="10" y="19"/>
                  </a:lnTo>
                  <a:lnTo>
                    <a:pt x="10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5"/>
            <p:cNvSpPr>
              <a:spLocks/>
            </p:cNvSpPr>
            <p:nvPr/>
          </p:nvSpPr>
          <p:spPr bwMode="auto">
            <a:xfrm>
              <a:off x="2552700" y="379413"/>
              <a:ext cx="66675" cy="85725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auto">
            <a:xfrm>
              <a:off x="2633663" y="446088"/>
              <a:ext cx="19050" cy="17463"/>
            </a:xfrm>
            <a:custGeom>
              <a:avLst/>
              <a:gdLst>
                <a:gd name="T0" fmla="*/ 12 w 12"/>
                <a:gd name="T1" fmla="*/ 0 h 11"/>
                <a:gd name="T2" fmla="*/ 12 w 12"/>
                <a:gd name="T3" fmla="*/ 11 h 11"/>
                <a:gd name="T4" fmla="*/ 0 w 12"/>
                <a:gd name="T5" fmla="*/ 11 h 11"/>
                <a:gd name="T6" fmla="*/ 0 w 12"/>
                <a:gd name="T7" fmla="*/ 0 h 11"/>
                <a:gd name="T8" fmla="*/ 7 w 12"/>
                <a:gd name="T9" fmla="*/ 0 h 11"/>
                <a:gd name="T10" fmla="*/ 12 w 12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1">
                  <a:moveTo>
                    <a:pt x="12" y="0"/>
                  </a:moveTo>
                  <a:lnTo>
                    <a:pt x="1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7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292" userDrawn="1">
          <p15:clr>
            <a:srgbClr val="F26B43"/>
          </p15:clr>
        </p15:guide>
        <p15:guide id="2" pos="398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95263" y="403225"/>
            <a:ext cx="6407150" cy="3603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4589" y="4209154"/>
            <a:ext cx="5848498" cy="49744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855635" y="9381000"/>
            <a:ext cx="467452" cy="30488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gend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36F3DE4-315C-49E2-B15B-355BB73E7B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499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4" progId="TCLayout.ActiveDocument.1">
                  <p:embed/>
                </p:oleObj>
              </mc:Choice>
              <mc:Fallback>
                <p:oleObj name="think-cell Folie" r:id="rId3" imgW="384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36F3DE4-315C-49E2-B15B-355BB73E7B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411478" y="308530"/>
            <a:ext cx="10698407" cy="553998"/>
          </a:xfrm>
          <a:noFill/>
        </p:spPr>
        <p:txBody>
          <a:bodyPr vert="horz" wrap="square" lIns="0" tIns="0">
            <a:spAutoFit/>
          </a:bodyPr>
          <a:lstStyle>
            <a:lvl1pPr>
              <a:defRPr sz="4000" baseline="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Inhalt/Agenda</a:t>
            </a:r>
          </a:p>
        </p:txBody>
      </p:sp>
    </p:spTree>
    <p:extLst>
      <p:ext uri="{BB962C8B-B14F-4D97-AF65-F5344CB8AC3E}">
        <p14:creationId xmlns:p14="http://schemas.microsoft.com/office/powerpoint/2010/main" val="122240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C753D985-A9FD-4764-9B68-2C7587A05E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989430" y="0"/>
            <a:ext cx="6532645" cy="6480175"/>
          </a:xfrm>
          <a:custGeom>
            <a:avLst/>
            <a:gdLst>
              <a:gd name="connsiteX0" fmla="*/ 1020613 w 6912471"/>
              <a:gd name="connsiteY0" fmla="*/ 0 h 6858000"/>
              <a:gd name="connsiteX1" fmla="*/ 6912471 w 6912471"/>
              <a:gd name="connsiteY1" fmla="*/ 0 h 6858000"/>
              <a:gd name="connsiteX2" fmla="*/ 6912471 w 6912471"/>
              <a:gd name="connsiteY2" fmla="*/ 6858000 h 6858000"/>
              <a:gd name="connsiteX3" fmla="*/ 0 w 6912471"/>
              <a:gd name="connsiteY3" fmla="*/ 6858000 h 6858000"/>
              <a:gd name="connsiteX4" fmla="*/ 4907 w 6912471"/>
              <a:gd name="connsiteY4" fmla="*/ 6809259 h 6858000"/>
              <a:gd name="connsiteX5" fmla="*/ 708823 w 6912471"/>
              <a:gd name="connsiteY5" fmla="*/ 6235368 h 6858000"/>
              <a:gd name="connsiteX6" fmla="*/ 2113155 w 6912471"/>
              <a:gd name="connsiteY6" fmla="*/ 6235368 h 6858000"/>
              <a:gd name="connsiteX7" fmla="*/ 2192070 w 6912471"/>
              <a:gd name="connsiteY7" fmla="*/ 6235368 h 6858000"/>
              <a:gd name="connsiteX8" fmla="*/ 2910597 w 6912471"/>
              <a:gd name="connsiteY8" fmla="*/ 5516290 h 6858000"/>
              <a:gd name="connsiteX9" fmla="*/ 2910597 w 6912471"/>
              <a:gd name="connsiteY9" fmla="*/ 1498449 h 6858000"/>
              <a:gd name="connsiteX10" fmla="*/ 2192070 w 6912471"/>
              <a:gd name="connsiteY10" fmla="*/ 779372 h 6858000"/>
              <a:gd name="connsiteX11" fmla="*/ 2113155 w 6912471"/>
              <a:gd name="connsiteY11" fmla="*/ 779372 h 6858000"/>
              <a:gd name="connsiteX12" fmla="*/ 1739139 w 6912471"/>
              <a:gd name="connsiteY12" fmla="*/ 779372 h 6858000"/>
              <a:gd name="connsiteX13" fmla="*/ 1020613 w 6912471"/>
              <a:gd name="connsiteY13" fmla="*/ 6029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912471" h="6858000">
                <a:moveTo>
                  <a:pt x="1020613" y="0"/>
                </a:moveTo>
                <a:lnTo>
                  <a:pt x="6912471" y="0"/>
                </a:lnTo>
                <a:lnTo>
                  <a:pt x="6912471" y="6858000"/>
                </a:lnTo>
                <a:lnTo>
                  <a:pt x="0" y="6858000"/>
                </a:lnTo>
                <a:lnTo>
                  <a:pt x="4907" y="6809259"/>
                </a:lnTo>
                <a:cubicBezTo>
                  <a:pt x="71970" y="6481145"/>
                  <a:pt x="361908" y="6235368"/>
                  <a:pt x="708823" y="6235368"/>
                </a:cubicBezTo>
                <a:lnTo>
                  <a:pt x="2113155" y="6235368"/>
                </a:lnTo>
                <a:lnTo>
                  <a:pt x="2192070" y="6235368"/>
                </a:lnTo>
                <a:cubicBezTo>
                  <a:pt x="2589827" y="6235368"/>
                  <a:pt x="2910597" y="5913067"/>
                  <a:pt x="2910597" y="5516290"/>
                </a:cubicBezTo>
                <a:lnTo>
                  <a:pt x="2910597" y="1498449"/>
                </a:lnTo>
                <a:cubicBezTo>
                  <a:pt x="2910597" y="1100389"/>
                  <a:pt x="2588544" y="779372"/>
                  <a:pt x="2192070" y="779372"/>
                </a:cubicBezTo>
                <a:lnTo>
                  <a:pt x="2113155" y="779372"/>
                </a:lnTo>
                <a:lnTo>
                  <a:pt x="1739139" y="779372"/>
                </a:lnTo>
                <a:cubicBezTo>
                  <a:pt x="1341383" y="779372"/>
                  <a:pt x="1020613" y="457071"/>
                  <a:pt x="1020613" y="6029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3035" y="1879421"/>
            <a:ext cx="6600244" cy="2313133"/>
          </a:xfrm>
        </p:spPr>
        <p:txBody>
          <a:bodyPr anchor="b"/>
          <a:lstStyle>
            <a:lvl1pPr>
              <a:defRPr sz="510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  <a:br>
              <a:rPr lang="en-US" dirty="0"/>
            </a:br>
            <a:r>
              <a:rPr lang="en-US" dirty="0"/>
              <a:t>to separate chapters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53035" y="4351122"/>
            <a:ext cx="6600244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pPr marL="0" marR="0" lvl="4" indent="0" algn="l" defTabSz="8640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 dirty="0"/>
              <a:t>Click to add fur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12925153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4F48F58B-A7D8-4498-A74C-4D7FA8671D8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" y="0"/>
            <a:ext cx="6881901" cy="6480175"/>
          </a:xfrm>
          <a:custGeom>
            <a:avLst/>
            <a:gdLst>
              <a:gd name="connsiteX0" fmla="*/ 0 w 7282034"/>
              <a:gd name="connsiteY0" fmla="*/ 0 h 6858000"/>
              <a:gd name="connsiteX1" fmla="*/ 7282034 w 7282034"/>
              <a:gd name="connsiteY1" fmla="*/ 0 h 6858000"/>
              <a:gd name="connsiteX2" fmla="*/ 7282034 w 7282034"/>
              <a:gd name="connsiteY2" fmla="*/ 630974 h 6858000"/>
              <a:gd name="connsiteX3" fmla="*/ 6567195 w 7282034"/>
              <a:gd name="connsiteY3" fmla="*/ 1478485 h 6858000"/>
              <a:gd name="connsiteX4" fmla="*/ 6485935 w 7282034"/>
              <a:gd name="connsiteY4" fmla="*/ 1482876 h 6858000"/>
              <a:gd name="connsiteX5" fmla="*/ 5163973 w 7282034"/>
              <a:gd name="connsiteY5" fmla="*/ 1482876 h 6858000"/>
              <a:gd name="connsiteX6" fmla="*/ 5163954 w 7282034"/>
              <a:gd name="connsiteY6" fmla="*/ 1482877 h 6858000"/>
              <a:gd name="connsiteX7" fmla="*/ 5092709 w 7282034"/>
              <a:gd name="connsiteY7" fmla="*/ 1482877 h 6858000"/>
              <a:gd name="connsiteX8" fmla="*/ 4296592 w 7282034"/>
              <a:gd name="connsiteY8" fmla="*/ 2334779 h 6858000"/>
              <a:gd name="connsiteX9" fmla="*/ 4296592 w 7282034"/>
              <a:gd name="connsiteY9" fmla="*/ 6858000 h 6858000"/>
              <a:gd name="connsiteX10" fmla="*/ 0 w 7282034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282034" h="6858000">
                <a:moveTo>
                  <a:pt x="0" y="0"/>
                </a:moveTo>
                <a:lnTo>
                  <a:pt x="7282034" y="0"/>
                </a:lnTo>
                <a:lnTo>
                  <a:pt x="7282034" y="630974"/>
                </a:lnTo>
                <a:cubicBezTo>
                  <a:pt x="7282034" y="1072616"/>
                  <a:pt x="6968122" y="1434922"/>
                  <a:pt x="6567195" y="1478485"/>
                </a:cubicBezTo>
                <a:lnTo>
                  <a:pt x="6485935" y="1482876"/>
                </a:lnTo>
                <a:lnTo>
                  <a:pt x="5163973" y="1482876"/>
                </a:lnTo>
                <a:lnTo>
                  <a:pt x="5163954" y="1482877"/>
                </a:lnTo>
                <a:lnTo>
                  <a:pt x="5092709" y="1482877"/>
                </a:lnTo>
                <a:cubicBezTo>
                  <a:pt x="4653755" y="1482877"/>
                  <a:pt x="4296592" y="1863694"/>
                  <a:pt x="4296592" y="2334779"/>
                </a:cubicBezTo>
                <a:lnTo>
                  <a:pt x="42965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40381" y="1879421"/>
            <a:ext cx="6328069" cy="2313133"/>
          </a:xfrm>
        </p:spPr>
        <p:txBody>
          <a:bodyPr anchor="b"/>
          <a:lstStyle>
            <a:lvl1pPr>
              <a:defRPr sz="510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 to separate chapters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40381" y="4350839"/>
            <a:ext cx="6328069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pPr marL="0" marR="0" lvl="4" indent="0" algn="l" defTabSz="8640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 dirty="0"/>
              <a:t>Click to add fur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16953561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9085B700-7E7E-495E-8770-F2C0E4CC3FE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287296" y="0"/>
            <a:ext cx="6234779" cy="6480175"/>
          </a:xfrm>
          <a:custGeom>
            <a:avLst/>
            <a:gdLst>
              <a:gd name="connsiteX0" fmla="*/ 2651633 w 6597286"/>
              <a:gd name="connsiteY0" fmla="*/ 0 h 6858000"/>
              <a:gd name="connsiteX1" fmla="*/ 6597286 w 6597286"/>
              <a:gd name="connsiteY1" fmla="*/ 0 h 6858000"/>
              <a:gd name="connsiteX2" fmla="*/ 6597286 w 6597286"/>
              <a:gd name="connsiteY2" fmla="*/ 6858000 h 6858000"/>
              <a:gd name="connsiteX3" fmla="*/ 0 w 6597286"/>
              <a:gd name="connsiteY3" fmla="*/ 6858000 h 6858000"/>
              <a:gd name="connsiteX4" fmla="*/ 7452 w 6597286"/>
              <a:gd name="connsiteY4" fmla="*/ 6809170 h 6858000"/>
              <a:gd name="connsiteX5" fmla="*/ 885502 w 6597286"/>
              <a:gd name="connsiteY5" fmla="*/ 6093335 h 6858000"/>
              <a:gd name="connsiteX6" fmla="*/ 4140126 w 6597286"/>
              <a:gd name="connsiteY6" fmla="*/ 6093335 h 6858000"/>
              <a:gd name="connsiteX7" fmla="*/ 5036364 w 6597286"/>
              <a:gd name="connsiteY7" fmla="*/ 5172770 h 6858000"/>
              <a:gd name="connsiteX8" fmla="*/ 5036364 w 6597286"/>
              <a:gd name="connsiteY8" fmla="*/ 1590378 h 6858000"/>
              <a:gd name="connsiteX9" fmla="*/ 4140126 w 6597286"/>
              <a:gd name="connsiteY9" fmla="*/ 694140 h 6858000"/>
              <a:gd name="connsiteX10" fmla="*/ 3523003 w 6597286"/>
              <a:gd name="connsiteY10" fmla="*/ 694140 h 6858000"/>
              <a:gd name="connsiteX11" fmla="*/ 2697304 w 6597286"/>
              <a:gd name="connsiteY11" fmla="*/ 14697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97286" h="6858000">
                <a:moveTo>
                  <a:pt x="2651633" y="0"/>
                </a:moveTo>
                <a:lnTo>
                  <a:pt x="6597286" y="0"/>
                </a:lnTo>
                <a:lnTo>
                  <a:pt x="6597286" y="6858000"/>
                </a:lnTo>
                <a:lnTo>
                  <a:pt x="0" y="6858000"/>
                </a:lnTo>
                <a:lnTo>
                  <a:pt x="7452" y="6809170"/>
                </a:lnTo>
                <a:cubicBezTo>
                  <a:pt x="90931" y="6401137"/>
                  <a:pt x="451947" y="6093335"/>
                  <a:pt x="885502" y="6093335"/>
                </a:cubicBezTo>
                <a:lnTo>
                  <a:pt x="4140126" y="6093335"/>
                </a:lnTo>
                <a:cubicBezTo>
                  <a:pt x="4634338" y="6093335"/>
                  <a:pt x="5036364" y="5668262"/>
                  <a:pt x="5036364" y="5172770"/>
                </a:cubicBezTo>
                <a:lnTo>
                  <a:pt x="5036364" y="1590378"/>
                </a:lnTo>
                <a:cubicBezTo>
                  <a:pt x="5036364" y="1096167"/>
                  <a:pt x="4635618" y="694140"/>
                  <a:pt x="4140126" y="694140"/>
                </a:cubicBezTo>
                <a:lnTo>
                  <a:pt x="3523003" y="694140"/>
                </a:lnTo>
                <a:cubicBezTo>
                  <a:pt x="3152344" y="694140"/>
                  <a:pt x="2833540" y="468720"/>
                  <a:pt x="2697304" y="14697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4" indent="0" algn="ctr" defTabSz="1695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20B0604020202020204" pitchFamily="34" charset="0"/>
              <a:buNone/>
              <a:tabLst/>
              <a:defRPr/>
            </a:pPr>
            <a:r>
              <a:rPr lang="en-US" dirty="0"/>
              <a:t>White background or add </a:t>
            </a:r>
            <a:br>
              <a:rPr lang="en-US" dirty="0"/>
            </a:br>
            <a:r>
              <a:rPr lang="en-US" dirty="0"/>
              <a:t>gradient as a pictur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E672D56-15CA-4A30-BD95-1720D4510A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3035" y="382688"/>
            <a:ext cx="5171325" cy="6803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704568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351FED-C2FB-40B3-9812-6EDF2B43D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86323F-21B0-414B-B738-0CBC5536F22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53082" y="1403210"/>
            <a:ext cx="10615912" cy="4626953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CAB5A7-FCF2-4304-9763-DF06FCF4452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82E0567-36A2-40E6-871A-F7CFABE600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39438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BA7844-79FB-4134-9E27-FC31F6528B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0907AE-8864-4AC0-A879-AAABC79A06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3CFAB5-4403-4D0D-B11A-024BAA76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79143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3946887-58C2-463F-973E-3197B8AC64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C005D7A-85A8-4046-8C54-F843A7C2C3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245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53035" y="1402538"/>
            <a:ext cx="5171325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897715" y="1401984"/>
            <a:ext cx="5171325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CCDACF-6717-47AC-AFF3-BD55D223381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08834F5-8BD1-47C8-92D0-13895D50405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062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53035" y="1402538"/>
            <a:ext cx="3334144" cy="462762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059754" y="1402538"/>
            <a:ext cx="3402188" cy="462762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7734896" y="1402538"/>
            <a:ext cx="3334144" cy="462762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3A285C3-C25F-44EA-AA94-B352A32E663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F697A7-E7AF-430A-9251-E1177E3F009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1002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53035" y="1402538"/>
            <a:ext cx="2449575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3175360" y="1402538"/>
            <a:ext cx="2449575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5897140" y="1402538"/>
            <a:ext cx="2449575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8619465" y="1402538"/>
            <a:ext cx="2449575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4F69BE-3497-4715-B2D5-A46E84AD478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A769A84-C986-456D-93E3-D7BB981611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20094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9D2F5FC9-E9D6-48D9-94C2-3D03C76371BA}"/>
              </a:ext>
            </a:extLst>
          </p:cNvPr>
          <p:cNvSpPr/>
          <p:nvPr userDrawn="1"/>
        </p:nvSpPr>
        <p:spPr bwMode="gray">
          <a:xfrm>
            <a:off x="7734889" y="1403187"/>
            <a:ext cx="3334105" cy="5076988"/>
          </a:xfrm>
          <a:custGeom>
            <a:avLst/>
            <a:gdLst>
              <a:gd name="connsiteX0" fmla="*/ 521984 w 3527959"/>
              <a:gd name="connsiteY0" fmla="*/ 0 h 5373000"/>
              <a:gd name="connsiteX1" fmla="*/ 593943 w 3527959"/>
              <a:gd name="connsiteY1" fmla="*/ 0 h 5373000"/>
              <a:gd name="connsiteX2" fmla="*/ 2933364 w 3527959"/>
              <a:gd name="connsiteY2" fmla="*/ 0 h 5373000"/>
              <a:gd name="connsiteX3" fmla="*/ 3005323 w 3527959"/>
              <a:gd name="connsiteY3" fmla="*/ 0 h 5373000"/>
              <a:gd name="connsiteX4" fmla="*/ 3527307 w 3527959"/>
              <a:gd name="connsiteY4" fmla="*/ 522636 h 5373000"/>
              <a:gd name="connsiteX5" fmla="*/ 3527307 w 3527959"/>
              <a:gd name="connsiteY5" fmla="*/ 1800000 h 5373000"/>
              <a:gd name="connsiteX6" fmla="*/ 3527959 w 3527959"/>
              <a:gd name="connsiteY6" fmla="*/ 1800000 h 5373000"/>
              <a:gd name="connsiteX7" fmla="*/ 3527959 w 3527959"/>
              <a:gd name="connsiteY7" fmla="*/ 5373000 h 5373000"/>
              <a:gd name="connsiteX8" fmla="*/ 3456000 w 3527959"/>
              <a:gd name="connsiteY8" fmla="*/ 5373000 h 5373000"/>
              <a:gd name="connsiteX9" fmla="*/ 71959 w 3527959"/>
              <a:gd name="connsiteY9" fmla="*/ 5373000 h 5373000"/>
              <a:gd name="connsiteX10" fmla="*/ 0 w 3527959"/>
              <a:gd name="connsiteY10" fmla="*/ 5373000 h 5373000"/>
              <a:gd name="connsiteX11" fmla="*/ 0 w 3527959"/>
              <a:gd name="connsiteY11" fmla="*/ 4820371 h 5373000"/>
              <a:gd name="connsiteX12" fmla="*/ 0 w 3527959"/>
              <a:gd name="connsiteY12" fmla="*/ 1800000 h 5373000"/>
              <a:gd name="connsiteX13" fmla="*/ 0 w 3527959"/>
              <a:gd name="connsiteY13" fmla="*/ 522636 h 5373000"/>
              <a:gd name="connsiteX14" fmla="*/ 521984 w 3527959"/>
              <a:gd name="connsiteY14" fmla="*/ 0 h 537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527959" h="5373000">
                <a:moveTo>
                  <a:pt x="521984" y="0"/>
                </a:moveTo>
                <a:lnTo>
                  <a:pt x="593943" y="0"/>
                </a:lnTo>
                <a:lnTo>
                  <a:pt x="2933364" y="0"/>
                </a:lnTo>
                <a:lnTo>
                  <a:pt x="3005323" y="0"/>
                </a:lnTo>
                <a:cubicBezTo>
                  <a:pt x="3295749" y="0"/>
                  <a:pt x="3527525" y="235469"/>
                  <a:pt x="3527307" y="522636"/>
                </a:cubicBezTo>
                <a:lnTo>
                  <a:pt x="3527307" y="1800000"/>
                </a:lnTo>
                <a:lnTo>
                  <a:pt x="3527959" y="1800000"/>
                </a:lnTo>
                <a:lnTo>
                  <a:pt x="3527959" y="5373000"/>
                </a:lnTo>
                <a:lnTo>
                  <a:pt x="3456000" y="5373000"/>
                </a:lnTo>
                <a:lnTo>
                  <a:pt x="71959" y="5373000"/>
                </a:lnTo>
                <a:lnTo>
                  <a:pt x="0" y="5373000"/>
                </a:lnTo>
                <a:lnTo>
                  <a:pt x="0" y="4820371"/>
                </a:lnTo>
                <a:lnTo>
                  <a:pt x="0" y="1800000"/>
                </a:lnTo>
                <a:lnTo>
                  <a:pt x="0" y="522636"/>
                </a:lnTo>
                <a:cubicBezTo>
                  <a:pt x="0" y="231776"/>
                  <a:pt x="235251" y="0"/>
                  <a:pt x="521984" y="0"/>
                </a:cubicBezTo>
                <a:close/>
              </a:path>
            </a:pathLst>
          </a:custGeom>
          <a:solidFill>
            <a:srgbClr val="E20074"/>
          </a:solidFill>
          <a:ln w="216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2173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53035" y="1402538"/>
            <a:ext cx="3334144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059754" y="1402538"/>
            <a:ext cx="3402188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7BBEDD2-BE9F-4A3C-BB81-2353AC6C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825369-F068-4158-B374-7F0B9837278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3CABB6E-BA23-427E-93AE-7C780507E82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1408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831010"/>
              </p:ext>
            </p:extLst>
          </p:nvPr>
        </p:nvGraphicFramePr>
        <p:xfrm>
          <a:off x="1816" y="1362"/>
          <a:ext cx="1815" cy="1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6" y="1362"/>
                        <a:ext cx="1815" cy="13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 err="1"/>
              <a:t>TeleNeo</a:t>
            </a:r>
            <a:r>
              <a:rPr lang="de-DE" dirty="0"/>
              <a:t> Office </a:t>
            </a:r>
            <a:r>
              <a:rPr lang="de-DE" dirty="0" err="1"/>
              <a:t>ExtraBold</a:t>
            </a:r>
            <a:r>
              <a:rPr lang="de-DE" dirty="0"/>
              <a:t>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8" name="Fußzeilenplatzhalter 11">
            <a:extLst>
              <a:ext uri="{FF2B5EF4-FFF2-40B4-BE49-F238E27FC236}">
                <a16:creationId xmlns:a16="http://schemas.microsoft.com/office/drawing/2014/main" id="{AD6DB477-6C14-4284-BB61-351480EB939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9681" y="6005132"/>
            <a:ext cx="5490414" cy="257747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DTSE AI Shared Services</a:t>
            </a:r>
            <a:endParaRPr lang="de-DE" dirty="0"/>
          </a:p>
        </p:txBody>
      </p:sp>
      <p:sp>
        <p:nvSpPr>
          <p:cNvPr id="9" name="Datumsplatzhalter 9">
            <a:extLst>
              <a:ext uri="{FF2B5EF4-FFF2-40B4-BE49-F238E27FC236}">
                <a16:creationId xmlns:a16="http://schemas.microsoft.com/office/drawing/2014/main" id="{79FE4946-E42E-463A-94CD-3CB65CD191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6756" y="6010879"/>
            <a:ext cx="1088504" cy="252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0" name="Foliennummernplatzhalter 10">
            <a:extLst>
              <a:ext uri="{FF2B5EF4-FFF2-40B4-BE49-F238E27FC236}">
                <a16:creationId xmlns:a16="http://schemas.microsoft.com/office/drawing/2014/main" id="{E504E10B-A399-4D07-ADAF-03D2F75E54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111087" y="6010879"/>
            <a:ext cx="529548" cy="25200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fld id="{12C068DA-D53D-462E-BFC0-FE45A468E8E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3363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53035" y="1402798"/>
            <a:ext cx="3334144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FEDF5FD-17AD-45A2-BFE4-CB2E27106D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1CAC558B-6BCB-4C10-847A-4ADA1E567F69}"/>
              </a:ext>
            </a:extLst>
          </p:cNvPr>
          <p:cNvSpPr/>
          <p:nvPr userDrawn="1"/>
        </p:nvSpPr>
        <p:spPr bwMode="gray">
          <a:xfrm>
            <a:off x="4059755" y="1403187"/>
            <a:ext cx="7462320" cy="4023283"/>
          </a:xfrm>
          <a:custGeom>
            <a:avLst/>
            <a:gdLst>
              <a:gd name="connsiteX0" fmla="*/ 442664 w 7896200"/>
              <a:gd name="connsiteY0" fmla="*/ 0 h 4257860"/>
              <a:gd name="connsiteX1" fmla="*/ 7560840 w 7896200"/>
              <a:gd name="connsiteY1" fmla="*/ 0 h 4257860"/>
              <a:gd name="connsiteX2" fmla="*/ 7821980 w 7896200"/>
              <a:gd name="connsiteY2" fmla="*/ 0 h 4257860"/>
              <a:gd name="connsiteX3" fmla="*/ 7896200 w 7896200"/>
              <a:gd name="connsiteY3" fmla="*/ 0 h 4257860"/>
              <a:gd name="connsiteX4" fmla="*/ 7896200 w 7896200"/>
              <a:gd name="connsiteY4" fmla="*/ 4257860 h 4257860"/>
              <a:gd name="connsiteX5" fmla="*/ 7821980 w 7896200"/>
              <a:gd name="connsiteY5" fmla="*/ 4257860 h 4257860"/>
              <a:gd name="connsiteX6" fmla="*/ 7560840 w 7896200"/>
              <a:gd name="connsiteY6" fmla="*/ 4257860 h 4257860"/>
              <a:gd name="connsiteX7" fmla="*/ 442664 w 7896200"/>
              <a:gd name="connsiteY7" fmla="*/ 4257860 h 4257860"/>
              <a:gd name="connsiteX8" fmla="*/ 0 w 7896200"/>
              <a:gd name="connsiteY8" fmla="*/ 3814543 h 4257860"/>
              <a:gd name="connsiteX9" fmla="*/ 0 w 7896200"/>
              <a:gd name="connsiteY9" fmla="*/ 443317 h 4257860"/>
              <a:gd name="connsiteX10" fmla="*/ 442664 w 7896200"/>
              <a:gd name="connsiteY10" fmla="*/ 0 h 4257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896200" h="4257860">
                <a:moveTo>
                  <a:pt x="442664" y="0"/>
                </a:moveTo>
                <a:lnTo>
                  <a:pt x="7560840" y="0"/>
                </a:lnTo>
                <a:lnTo>
                  <a:pt x="7821980" y="0"/>
                </a:lnTo>
                <a:lnTo>
                  <a:pt x="7896200" y="0"/>
                </a:lnTo>
                <a:lnTo>
                  <a:pt x="7896200" y="4257860"/>
                </a:lnTo>
                <a:lnTo>
                  <a:pt x="7821980" y="4257860"/>
                </a:lnTo>
                <a:lnTo>
                  <a:pt x="7560840" y="4257860"/>
                </a:lnTo>
                <a:lnTo>
                  <a:pt x="442664" y="4257860"/>
                </a:lnTo>
                <a:cubicBezTo>
                  <a:pt x="196451" y="4257860"/>
                  <a:pt x="0" y="4057831"/>
                  <a:pt x="0" y="3814543"/>
                </a:cubicBezTo>
                <a:lnTo>
                  <a:pt x="0" y="443317"/>
                </a:lnTo>
                <a:cubicBezTo>
                  <a:pt x="0" y="196777"/>
                  <a:pt x="199378" y="0"/>
                  <a:pt x="442664" y="0"/>
                </a:cubicBez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033" tIns="68033" rIns="68033" bIns="68033" rtlCol="0" anchor="ctr">
            <a:noAutofit/>
          </a:bodyPr>
          <a:lstStyle/>
          <a:p>
            <a:pPr algn="ctr"/>
            <a:endParaRPr lang="en-US" sz="2173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0E3BC7C-32C8-437B-8F9B-716FE52AD57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6F6437-1F47-4408-837D-4CA69A8278F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1420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390392" y="2763854"/>
            <a:ext cx="7317183" cy="2313133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378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134"/>
              </a:spcBef>
              <a:spcAft>
                <a:spcPts val="0"/>
              </a:spcAft>
              <a:buFont typeface="+mn-lt" panose="020B0604020202020204" pitchFamily="34" charset="0"/>
              <a:buNone/>
              <a:defRPr sz="1701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“Click to insert a powerful quote, multi-lined possible”</a:t>
            </a:r>
          </a:p>
          <a:p>
            <a:pPr lvl="1"/>
            <a:r>
              <a:rPr lang="en-US" dirty="0"/>
              <a:t>– Author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82E544-7C5C-421B-817A-832EDFE06FB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5624935" cy="6480175"/>
          </a:xfrm>
          <a:custGeom>
            <a:avLst/>
            <a:gdLst>
              <a:gd name="connsiteX0" fmla="*/ 0 w 5951984"/>
              <a:gd name="connsiteY0" fmla="*/ 0 h 6858000"/>
              <a:gd name="connsiteX1" fmla="*/ 5951984 w 5951984"/>
              <a:gd name="connsiteY1" fmla="*/ 0 h 6858000"/>
              <a:gd name="connsiteX2" fmla="*/ 5951984 w 5951984"/>
              <a:gd name="connsiteY2" fmla="*/ 808991 h 6858000"/>
              <a:gd name="connsiteX3" fmla="*/ 5293418 w 5951984"/>
              <a:gd name="connsiteY3" fmla="*/ 1482091 h 6858000"/>
              <a:gd name="connsiteX4" fmla="*/ 1286265 w 5951984"/>
              <a:gd name="connsiteY4" fmla="*/ 1482091 h 6858000"/>
              <a:gd name="connsiteX5" fmla="*/ 1141152 w 5951984"/>
              <a:gd name="connsiteY5" fmla="*/ 1482091 h 6858000"/>
              <a:gd name="connsiteX6" fmla="*/ 482587 w 5951984"/>
              <a:gd name="connsiteY6" fmla="*/ 2155191 h 6858000"/>
              <a:gd name="connsiteX7" fmla="*/ 482587 w 5951984"/>
              <a:gd name="connsiteY7" fmla="*/ 6858000 h 6858000"/>
              <a:gd name="connsiteX8" fmla="*/ 0 w 5951984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51984" h="6858000">
                <a:moveTo>
                  <a:pt x="0" y="0"/>
                </a:moveTo>
                <a:lnTo>
                  <a:pt x="5951984" y="0"/>
                </a:lnTo>
                <a:lnTo>
                  <a:pt x="5951984" y="808991"/>
                </a:lnTo>
                <a:cubicBezTo>
                  <a:pt x="5951984" y="1181100"/>
                  <a:pt x="5657028" y="1482091"/>
                  <a:pt x="5293418" y="1482091"/>
                </a:cubicBezTo>
                <a:lnTo>
                  <a:pt x="1286265" y="1482091"/>
                </a:lnTo>
                <a:lnTo>
                  <a:pt x="1141152" y="1482091"/>
                </a:lnTo>
                <a:cubicBezTo>
                  <a:pt x="777543" y="1482091"/>
                  <a:pt x="482587" y="1783080"/>
                  <a:pt x="482587" y="2155191"/>
                </a:cubicBezTo>
                <a:lnTo>
                  <a:pt x="48258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4" indent="0" algn="ctr" defTabSz="1695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20B0604020202020204" pitchFamily="34" charset="0"/>
              <a:buNone/>
              <a:tabLst/>
              <a:defRPr/>
            </a:pPr>
            <a:r>
              <a:rPr lang="en-US" dirty="0"/>
              <a:t>White background or add </a:t>
            </a:r>
            <a:br>
              <a:rPr lang="en-US" dirty="0"/>
            </a:br>
            <a:r>
              <a:rPr lang="en-US" dirty="0"/>
              <a:t>gradient as a picture</a:t>
            </a:r>
          </a:p>
        </p:txBody>
      </p:sp>
    </p:spTree>
    <p:extLst>
      <p:ext uri="{BB962C8B-B14F-4D97-AF65-F5344CB8AC3E}">
        <p14:creationId xmlns:p14="http://schemas.microsoft.com/office/powerpoint/2010/main" val="2586353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897140" y="1402538"/>
            <a:ext cx="5626084" cy="4626267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539549" algn="l"/>
              </a:tabLst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53035" y="1402538"/>
            <a:ext cx="5171325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666DA3C-926F-4EC4-9514-427BC43B16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FFEC28-8502-4C97-9901-B0E5187A79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346FF63-32DD-4F94-A3B9-DEE1354F0F2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4105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7734896" y="1402538"/>
            <a:ext cx="3334144" cy="4626267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53035" y="1403482"/>
            <a:ext cx="7008506" cy="4626267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D320FC-1745-4ABC-85D6-471E8EC829C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501084-378C-41A0-8852-DE0E44E8B6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0252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(fullsca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1522075" cy="6480175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55E8CB7-F14B-4652-B6B2-A80BA2609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D87DE1D-7ACF-4AB8-AF79-18AC50E43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1135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53082" y="0"/>
            <a:ext cx="11068993" cy="6480175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05CD262-FAEC-4FAF-93B6-86C05CA2D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40D4A09-6BB9-4A0D-B3DF-825501C01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15211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007175"/>
              </p:ext>
            </p:extLst>
          </p:nvPr>
        </p:nvGraphicFramePr>
        <p:xfrm>
          <a:off x="1816" y="1362"/>
          <a:ext cx="1815" cy="1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6" y="1362"/>
                        <a:ext cx="1815" cy="13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11477" y="1388377"/>
            <a:ext cx="10698407" cy="4165131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de-DE" dirty="0" err="1"/>
              <a:t>TeleNeo</a:t>
            </a:r>
            <a:r>
              <a:rPr lang="de-DE" dirty="0"/>
              <a:t> Office </a:t>
            </a:r>
            <a:r>
              <a:rPr lang="de-DE" dirty="0" err="1"/>
              <a:t>ExtraBold</a:t>
            </a:r>
            <a:r>
              <a:rPr lang="de-DE" dirty="0"/>
              <a:t>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0" name="Fußzeilenplatzhalter 11">
            <a:extLst>
              <a:ext uri="{FF2B5EF4-FFF2-40B4-BE49-F238E27FC236}">
                <a16:creationId xmlns:a16="http://schemas.microsoft.com/office/drawing/2014/main" id="{2F6D9D71-7688-476C-B081-2162B59219A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9681" y="6005132"/>
            <a:ext cx="5490414" cy="257747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DTSE AI Shared Services</a:t>
            </a:r>
            <a:endParaRPr lang="de-DE" dirty="0"/>
          </a:p>
        </p:txBody>
      </p:sp>
      <p:sp>
        <p:nvSpPr>
          <p:cNvPr id="11" name="Datumsplatzhalter 9">
            <a:extLst>
              <a:ext uri="{FF2B5EF4-FFF2-40B4-BE49-F238E27FC236}">
                <a16:creationId xmlns:a16="http://schemas.microsoft.com/office/drawing/2014/main" id="{ED6F93B4-4E99-4523-8B19-EAD0FC31BA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6756" y="6010879"/>
            <a:ext cx="1088504" cy="252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0">
            <a:extLst>
              <a:ext uri="{FF2B5EF4-FFF2-40B4-BE49-F238E27FC236}">
                <a16:creationId xmlns:a16="http://schemas.microsoft.com/office/drawing/2014/main" id="{D3379A81-550D-4E93-AF14-DD104A59A2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111087" y="6010879"/>
            <a:ext cx="529548" cy="25200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fld id="{12C068DA-D53D-462E-BFC0-FE45A468E8E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5914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831010"/>
              </p:ext>
            </p:extLst>
          </p:nvPr>
        </p:nvGraphicFramePr>
        <p:xfrm>
          <a:off x="1816" y="1362"/>
          <a:ext cx="1815" cy="1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6" y="1362"/>
                        <a:ext cx="1815" cy="13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 err="1"/>
              <a:t>TeleNeo</a:t>
            </a:r>
            <a:r>
              <a:rPr lang="de-DE" dirty="0"/>
              <a:t> Office </a:t>
            </a:r>
            <a:r>
              <a:rPr lang="de-DE" dirty="0" err="1"/>
              <a:t>ExtraBold</a:t>
            </a:r>
            <a:r>
              <a:rPr lang="de-DE" dirty="0"/>
              <a:t>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A08DA44C-F371-4566-9EE4-FABE620F674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477" y="1388378"/>
            <a:ext cx="3438145" cy="4473659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 marL="155100" indent="-154264">
              <a:buClr>
                <a:schemeClr val="tx1"/>
              </a:buClr>
              <a:defRPr sz="1600">
                <a:latin typeface="+mn-lt"/>
              </a:defRPr>
            </a:lvl3pPr>
            <a:lvl4pPr marL="308529" indent="-154264">
              <a:buClr>
                <a:schemeClr val="tx1"/>
              </a:buClr>
              <a:defRPr sz="1600">
                <a:latin typeface="+mn-lt"/>
              </a:defRPr>
            </a:lvl4pPr>
            <a:lvl5pPr marL="0" indent="0">
              <a:spcBef>
                <a:spcPts val="686"/>
              </a:spcBef>
              <a:spcAft>
                <a:spcPts val="686"/>
              </a:spcAft>
              <a:buClr>
                <a:schemeClr val="tx1"/>
              </a:buClr>
              <a:buNone/>
              <a:defRPr sz="1600">
                <a:solidFill>
                  <a:schemeClr val="tx2"/>
                </a:solidFill>
                <a:latin typeface="+mn-lt"/>
              </a:defRPr>
            </a:lvl5pPr>
            <a:lvl6pPr>
              <a:defRPr sz="1543"/>
            </a:lvl6pPr>
            <a:lvl7pPr>
              <a:defRPr sz="1543"/>
            </a:lvl7pPr>
            <a:lvl8pPr>
              <a:defRPr sz="1543"/>
            </a:lvl8pPr>
            <a:lvl9pPr>
              <a:defRPr sz="1543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3">
            <a:extLst>
              <a:ext uri="{FF2B5EF4-FFF2-40B4-BE49-F238E27FC236}">
                <a16:creationId xmlns:a16="http://schemas.microsoft.com/office/drawing/2014/main" id="{70799161-F002-47F5-BE55-8036F1A3E0C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043836" y="1388378"/>
            <a:ext cx="3438145" cy="447365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600" dirty="0" smtClean="0">
                <a:latin typeface="+mn-lt"/>
              </a:defRPr>
            </a:lvl1pPr>
            <a:lvl2pPr>
              <a:defRPr lang="de-DE" sz="1600" dirty="0" smtClean="0">
                <a:latin typeface="+mn-lt"/>
              </a:defRPr>
            </a:lvl2pPr>
            <a:lvl3pPr marL="155100" indent="-154264">
              <a:defRPr lang="de-DE" sz="1600" dirty="0" smtClean="0">
                <a:latin typeface="+mn-lt"/>
              </a:defRPr>
            </a:lvl3pPr>
            <a:lvl4pPr marL="308529" indent="-154264">
              <a:defRPr lang="de-DE" sz="1600" dirty="0" smtClean="0">
                <a:latin typeface="+mn-lt"/>
              </a:defRPr>
            </a:lvl4pPr>
            <a:lvl5pPr>
              <a:defRPr lang="de-DE" sz="1600" dirty="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1B0D8F70-2D64-45C3-BD8D-287AE5A51FFE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7673968" y="1388378"/>
            <a:ext cx="3438145" cy="447365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600" dirty="0" smtClean="0">
                <a:latin typeface="+mn-lt"/>
              </a:defRPr>
            </a:lvl1pPr>
            <a:lvl2pPr>
              <a:defRPr lang="de-DE" sz="1600" dirty="0" smtClean="0">
                <a:latin typeface="+mn-lt"/>
              </a:defRPr>
            </a:lvl2pPr>
            <a:lvl3pPr marL="155100" indent="-154264">
              <a:defRPr lang="de-DE" sz="1600" dirty="0" smtClean="0">
                <a:latin typeface="+mn-lt"/>
              </a:defRPr>
            </a:lvl3pPr>
            <a:lvl4pPr marL="308529" indent="-154264">
              <a:defRPr lang="de-DE" sz="1600" dirty="0" smtClean="0">
                <a:latin typeface="+mn-lt"/>
              </a:defRPr>
            </a:lvl4pPr>
            <a:lvl5pPr>
              <a:defRPr lang="de-DE" sz="1600" dirty="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11">
            <a:extLst>
              <a:ext uri="{FF2B5EF4-FFF2-40B4-BE49-F238E27FC236}">
                <a16:creationId xmlns:a16="http://schemas.microsoft.com/office/drawing/2014/main" id="{8BFFF668-47EB-4798-A797-8B64BCE1872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9681" y="6005132"/>
            <a:ext cx="5490414" cy="257747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DTSE AI Shared Services</a:t>
            </a:r>
            <a:endParaRPr lang="de-DE" dirty="0"/>
          </a:p>
        </p:txBody>
      </p:sp>
      <p:sp>
        <p:nvSpPr>
          <p:cNvPr id="8" name="Datumsplatzhalter 9">
            <a:extLst>
              <a:ext uri="{FF2B5EF4-FFF2-40B4-BE49-F238E27FC236}">
                <a16:creationId xmlns:a16="http://schemas.microsoft.com/office/drawing/2014/main" id="{CE010009-B015-4E13-B3CB-6D62B476AD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6756" y="6010879"/>
            <a:ext cx="1088504" cy="252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10">
            <a:extLst>
              <a:ext uri="{FF2B5EF4-FFF2-40B4-BE49-F238E27FC236}">
                <a16:creationId xmlns:a16="http://schemas.microsoft.com/office/drawing/2014/main" id="{D6359144-DB36-4965-AEA9-BCD572D847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111087" y="6010879"/>
            <a:ext cx="529548" cy="25200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fld id="{12C068DA-D53D-462E-BFC0-FE45A468E8E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96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o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D0926A59-3663-4198-92E6-B934EF6580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1522075" cy="6480175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2147119 h 6858000"/>
              <a:gd name="connsiteX12" fmla="*/ 628750 w 12192000"/>
              <a:gd name="connsiteY12" fmla="*/ 5399178 h 6858000"/>
              <a:gd name="connsiteX13" fmla="*/ 100965 w 12192000"/>
              <a:gd name="connsiteY13" fmla="*/ 6047839 h 6858000"/>
              <a:gd name="connsiteX14" fmla="*/ 0 w 12192000"/>
              <a:gd name="connsiteY14" fmla="*/ 605804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434300" y="6858000"/>
                </a:lnTo>
                <a:lnTo>
                  <a:pt x="7434300" y="3606644"/>
                </a:lnTo>
                <a:cubicBezTo>
                  <a:pt x="7434300" y="3241112"/>
                  <a:pt x="7138236" y="2944524"/>
                  <a:pt x="6773352" y="2944524"/>
                </a:cubicBezTo>
                <a:lnTo>
                  <a:pt x="3978934" y="2944524"/>
                </a:lnTo>
                <a:cubicBezTo>
                  <a:pt x="3614051" y="2944524"/>
                  <a:pt x="3317987" y="2647936"/>
                  <a:pt x="3317987" y="2282405"/>
                </a:cubicBezTo>
                <a:lnTo>
                  <a:pt x="3317987" y="2147119"/>
                </a:lnTo>
                <a:cubicBezTo>
                  <a:pt x="3317987" y="1781588"/>
                  <a:pt x="3021925" y="1485000"/>
                  <a:pt x="2657041" y="1485000"/>
                </a:cubicBezTo>
                <a:lnTo>
                  <a:pt x="1289697" y="1485000"/>
                </a:lnTo>
                <a:cubicBezTo>
                  <a:pt x="924814" y="1485000"/>
                  <a:pt x="628750" y="1781588"/>
                  <a:pt x="628750" y="2147119"/>
                </a:cubicBezTo>
                <a:lnTo>
                  <a:pt x="628750" y="5399178"/>
                </a:lnTo>
                <a:cubicBezTo>
                  <a:pt x="628750" y="5719018"/>
                  <a:pt x="402077" y="5986073"/>
                  <a:pt x="100965" y="6047839"/>
                </a:cubicBezTo>
                <a:lnTo>
                  <a:pt x="0" y="605804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65497" y="3104006"/>
            <a:ext cx="4354800" cy="1547008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378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65497" y="4805081"/>
            <a:ext cx="4354800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4922ADEE-68C4-47F5-9D70-00C73215EFE0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065497" y="1882886"/>
            <a:ext cx="514394" cy="6123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6402" tIns="43201" rIns="86402" bIns="43201" numCol="1" anchor="t" anchorCtr="0" compatLnSpc="1">
            <a:prstTxWarp prst="textNoShape">
              <a:avLst/>
            </a:prstTxWarp>
          </a:bodyPr>
          <a:lstStyle/>
          <a:p>
            <a:endParaRPr lang="en-US" sz="2173" dirty="0"/>
          </a:p>
        </p:txBody>
      </p:sp>
    </p:spTree>
    <p:extLst>
      <p:ext uri="{BB962C8B-B14F-4D97-AF65-F5344CB8AC3E}">
        <p14:creationId xmlns:p14="http://schemas.microsoft.com/office/powerpoint/2010/main" val="15301747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o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48E673EF-7D81-46BF-B450-0CBD30E9B8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1522075" cy="6480175"/>
          </a:xfrm>
          <a:custGeom>
            <a:avLst/>
            <a:gdLst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546112 w 12192000"/>
              <a:gd name="connsiteY7" fmla="*/ 4509000 h 6858000"/>
              <a:gd name="connsiteX8" fmla="*/ 1691816 w 12192000"/>
              <a:gd name="connsiteY8" fmla="*/ 4509000 h 6858000"/>
              <a:gd name="connsiteX9" fmla="*/ 1699674 w 12192000"/>
              <a:gd name="connsiteY9" fmla="*/ 4509000 h 6858000"/>
              <a:gd name="connsiteX10" fmla="*/ 1861287 w 12192000"/>
              <a:gd name="connsiteY10" fmla="*/ 4509000 h 6858000"/>
              <a:gd name="connsiteX11" fmla="*/ 1869932 w 12192000"/>
              <a:gd name="connsiteY11" fmla="*/ 4509000 h 6858000"/>
              <a:gd name="connsiteX12" fmla="*/ 2227928 w 12192000"/>
              <a:gd name="connsiteY12" fmla="*/ 4509000 h 6858000"/>
              <a:gd name="connsiteX13" fmla="*/ 2238276 w 12192000"/>
              <a:gd name="connsiteY13" fmla="*/ 4509000 h 6858000"/>
              <a:gd name="connsiteX14" fmla="*/ 2594568 w 12192000"/>
              <a:gd name="connsiteY14" fmla="*/ 4509000 h 6858000"/>
              <a:gd name="connsiteX15" fmla="*/ 2606619 w 12192000"/>
              <a:gd name="connsiteY15" fmla="*/ 4509000 h 6858000"/>
              <a:gd name="connsiteX16" fmla="*/ 2764039 w 12192000"/>
              <a:gd name="connsiteY16" fmla="*/ 4509000 h 6858000"/>
              <a:gd name="connsiteX17" fmla="*/ 2776877 w 12192000"/>
              <a:gd name="connsiteY17" fmla="*/ 4509000 h 6858000"/>
              <a:gd name="connsiteX18" fmla="*/ 2916890 w 12192000"/>
              <a:gd name="connsiteY18" fmla="*/ 4509000 h 6858000"/>
              <a:gd name="connsiteX19" fmla="*/ 2930438 w 12192000"/>
              <a:gd name="connsiteY19" fmla="*/ 4509000 h 6858000"/>
              <a:gd name="connsiteX20" fmla="*/ 6257159 w 12192000"/>
              <a:gd name="connsiteY20" fmla="*/ 4509000 h 6858000"/>
              <a:gd name="connsiteX21" fmla="*/ 6286220 w 12192000"/>
              <a:gd name="connsiteY21" fmla="*/ 4509000 h 6858000"/>
              <a:gd name="connsiteX22" fmla="*/ 6979034 w 12192000"/>
              <a:gd name="connsiteY22" fmla="*/ 3819388 h 6858000"/>
              <a:gd name="connsiteX23" fmla="*/ 6979034 w 12192000"/>
              <a:gd name="connsiteY23" fmla="*/ 3140165 h 6858000"/>
              <a:gd name="connsiteX24" fmla="*/ 7671849 w 12192000"/>
              <a:gd name="connsiteY24" fmla="*/ 2450553 h 6858000"/>
              <a:gd name="connsiteX25" fmla="*/ 8029891 w 12192000"/>
              <a:gd name="connsiteY25" fmla="*/ 2450553 h 6858000"/>
              <a:gd name="connsiteX26" fmla="*/ 8067185 w 12192000"/>
              <a:gd name="connsiteY26" fmla="*/ 2450553 h 6858000"/>
              <a:gd name="connsiteX27" fmla="*/ 8759999 w 12192000"/>
              <a:gd name="connsiteY27" fmla="*/ 17609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2000" h="6858000">
                <a:moveTo>
                  <a:pt x="8759999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509000"/>
                </a:lnTo>
                <a:lnTo>
                  <a:pt x="1" y="4509000"/>
                </a:lnTo>
                <a:lnTo>
                  <a:pt x="1538964" y="4509000"/>
                </a:lnTo>
                <a:lnTo>
                  <a:pt x="1546112" y="4509000"/>
                </a:lnTo>
                <a:lnTo>
                  <a:pt x="1691816" y="4509000"/>
                </a:lnTo>
                <a:lnTo>
                  <a:pt x="1699674" y="4509000"/>
                </a:lnTo>
                <a:lnTo>
                  <a:pt x="1861287" y="4509000"/>
                </a:lnTo>
                <a:lnTo>
                  <a:pt x="1869932" y="4509000"/>
                </a:lnTo>
                <a:lnTo>
                  <a:pt x="2227928" y="4509000"/>
                </a:lnTo>
                <a:lnTo>
                  <a:pt x="2238276" y="4509000"/>
                </a:lnTo>
                <a:lnTo>
                  <a:pt x="2594568" y="4509000"/>
                </a:lnTo>
                <a:lnTo>
                  <a:pt x="2606619" y="4509000"/>
                </a:lnTo>
                <a:lnTo>
                  <a:pt x="2764039" y="4509000"/>
                </a:lnTo>
                <a:lnTo>
                  <a:pt x="2776877" y="4509000"/>
                </a:lnTo>
                <a:lnTo>
                  <a:pt x="2916890" y="4509000"/>
                </a:lnTo>
                <a:lnTo>
                  <a:pt x="2930438" y="4509000"/>
                </a:lnTo>
                <a:lnTo>
                  <a:pt x="6257159" y="4509000"/>
                </a:lnTo>
                <a:lnTo>
                  <a:pt x="6286220" y="4509000"/>
                </a:lnTo>
                <a:cubicBezTo>
                  <a:pt x="6669812" y="4509000"/>
                  <a:pt x="6979034" y="4199908"/>
                  <a:pt x="6979034" y="3819388"/>
                </a:cubicBezTo>
                <a:lnTo>
                  <a:pt x="6979034" y="3140165"/>
                </a:lnTo>
                <a:cubicBezTo>
                  <a:pt x="6979034" y="2758346"/>
                  <a:pt x="7289562" y="2450553"/>
                  <a:pt x="7671849" y="2450553"/>
                </a:cubicBezTo>
                <a:lnTo>
                  <a:pt x="8029891" y="2450553"/>
                </a:lnTo>
                <a:lnTo>
                  <a:pt x="8067185" y="2450553"/>
                </a:lnTo>
                <a:cubicBezTo>
                  <a:pt x="8450777" y="2450553"/>
                  <a:pt x="8759999" y="2141461"/>
                  <a:pt x="8759999" y="176094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3035" y="1607106"/>
            <a:ext cx="5443500" cy="1564736"/>
          </a:xfrm>
        </p:spPr>
        <p:txBody>
          <a:bodyPr lIns="0" anchor="b"/>
          <a:lstStyle>
            <a:lvl1pPr algn="l">
              <a:lnSpc>
                <a:spcPct val="90000"/>
              </a:lnSpc>
              <a:defRPr sz="378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53035" y="3341926"/>
            <a:ext cx="5171325" cy="476233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27941A39-F637-41A7-A058-9319063D2141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53081" y="450012"/>
            <a:ext cx="514394" cy="6123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6402" tIns="43201" rIns="86402" bIns="43201" numCol="1" anchor="t" anchorCtr="0" compatLnSpc="1">
            <a:prstTxWarp prst="textNoShape">
              <a:avLst/>
            </a:prstTxWarp>
          </a:bodyPr>
          <a:lstStyle/>
          <a:p>
            <a:endParaRPr lang="en-US" sz="2173" dirty="0"/>
          </a:p>
        </p:txBody>
      </p:sp>
    </p:spTree>
    <p:extLst>
      <p:ext uri="{BB962C8B-B14F-4D97-AF65-F5344CB8AC3E}">
        <p14:creationId xmlns:p14="http://schemas.microsoft.com/office/powerpoint/2010/main" val="17736317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hort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134063" y="2899883"/>
            <a:ext cx="7076550" cy="1414526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5102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72DD3FE2-48A3-445F-9843-1184ABBFA86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1522075" cy="6480175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566846 w 12192000"/>
              <a:gd name="connsiteY3" fmla="*/ 6858000 h 6858000"/>
              <a:gd name="connsiteX4" fmla="*/ 11566846 w 12192000"/>
              <a:gd name="connsiteY4" fmla="*/ 6656132 h 6858000"/>
              <a:gd name="connsiteX5" fmla="*/ 10764446 w 12192000"/>
              <a:gd name="connsiteY5" fmla="*/ 5853732 h 6858000"/>
              <a:gd name="connsiteX6" fmla="*/ 10132176 w 12192000"/>
              <a:gd name="connsiteY6" fmla="*/ 5853732 h 6858000"/>
              <a:gd name="connsiteX7" fmla="*/ 9329777 w 12192000"/>
              <a:gd name="connsiteY7" fmla="*/ 5051333 h 6858000"/>
              <a:gd name="connsiteX8" fmla="*/ 9329777 w 12192000"/>
              <a:gd name="connsiteY8" fmla="*/ 3075805 h 6858000"/>
              <a:gd name="connsiteX9" fmla="*/ 9331046 w 12192000"/>
              <a:gd name="connsiteY9" fmla="*/ 3075805 h 6858000"/>
              <a:gd name="connsiteX10" fmla="*/ 8528647 w 12192000"/>
              <a:gd name="connsiteY10" fmla="*/ 2273406 h 6858000"/>
              <a:gd name="connsiteX11" fmla="*/ 7439314 w 12192000"/>
              <a:gd name="connsiteY11" fmla="*/ 2273406 h 6858000"/>
              <a:gd name="connsiteX12" fmla="*/ 1507655 w 12192000"/>
              <a:gd name="connsiteY12" fmla="*/ 2273406 h 6858000"/>
              <a:gd name="connsiteX13" fmla="*/ 1426399 w 12192000"/>
              <a:gd name="connsiteY13" fmla="*/ 2273406 h 6858000"/>
              <a:gd name="connsiteX14" fmla="*/ 624000 w 12192000"/>
              <a:gd name="connsiteY14" fmla="*/ 3075805 h 6858000"/>
              <a:gd name="connsiteX15" fmla="*/ 624000 w 12192000"/>
              <a:gd name="connsiteY15" fmla="*/ 6858000 h 6858000"/>
              <a:gd name="connsiteX16" fmla="*/ 0 w 12192000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566846" y="6858000"/>
                </a:lnTo>
                <a:lnTo>
                  <a:pt x="11566846" y="6656132"/>
                </a:lnTo>
                <a:cubicBezTo>
                  <a:pt x="11566846" y="6213034"/>
                  <a:pt x="11207543" y="5853732"/>
                  <a:pt x="10764446" y="5853732"/>
                </a:cubicBezTo>
                <a:lnTo>
                  <a:pt x="10132176" y="5853732"/>
                </a:lnTo>
                <a:cubicBezTo>
                  <a:pt x="9689079" y="5853732"/>
                  <a:pt x="9329777" y="5494430"/>
                  <a:pt x="9329777" y="5051333"/>
                </a:cubicBezTo>
                <a:lnTo>
                  <a:pt x="9329777" y="3075805"/>
                </a:lnTo>
                <a:lnTo>
                  <a:pt x="9331046" y="3075805"/>
                </a:lnTo>
                <a:cubicBezTo>
                  <a:pt x="9331046" y="2632708"/>
                  <a:pt x="8971745" y="2273406"/>
                  <a:pt x="8528647" y="2273406"/>
                </a:cubicBezTo>
                <a:lnTo>
                  <a:pt x="7439314" y="2273406"/>
                </a:lnTo>
                <a:lnTo>
                  <a:pt x="1507655" y="2273406"/>
                </a:lnTo>
                <a:lnTo>
                  <a:pt x="1426399" y="2273406"/>
                </a:lnTo>
                <a:cubicBezTo>
                  <a:pt x="983302" y="2273406"/>
                  <a:pt x="624000" y="2632708"/>
                  <a:pt x="624000" y="3075805"/>
                </a:cubicBezTo>
                <a:lnTo>
                  <a:pt x="62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134063" y="4464877"/>
            <a:ext cx="7076550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411DC7F0-EE7F-426E-9296-81485E710887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065497" y="5417396"/>
            <a:ext cx="514394" cy="6123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6402" tIns="43201" rIns="86402" bIns="43201" numCol="1" anchor="t" anchorCtr="0" compatLnSpc="1">
            <a:prstTxWarp prst="textNoShape">
              <a:avLst/>
            </a:prstTxWarp>
          </a:bodyPr>
          <a:lstStyle/>
          <a:p>
            <a:endParaRPr lang="en-US" sz="2173" dirty="0"/>
          </a:p>
        </p:txBody>
      </p:sp>
    </p:spTree>
    <p:extLst>
      <p:ext uri="{BB962C8B-B14F-4D97-AF65-F5344CB8AC3E}">
        <p14:creationId xmlns:p14="http://schemas.microsoft.com/office/powerpoint/2010/main" val="5417146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hort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3035" y="2695760"/>
            <a:ext cx="7280681" cy="1478967"/>
          </a:xfrm>
        </p:spPr>
        <p:txBody>
          <a:bodyPr lIns="0" anchor="b"/>
          <a:lstStyle>
            <a:lvl1pPr algn="l">
              <a:lnSpc>
                <a:spcPct val="90000"/>
              </a:lnSpc>
              <a:defRPr sz="5102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9307EB07-10EC-4AF9-8B6D-67DBE91E285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2"/>
            <a:ext cx="11522075" cy="6480174"/>
          </a:xfrm>
          <a:custGeom>
            <a:avLst/>
            <a:gdLst>
              <a:gd name="connsiteX0" fmla="*/ 0 w 12192000"/>
              <a:gd name="connsiteY0" fmla="*/ 0 h 6857999"/>
              <a:gd name="connsiteX1" fmla="*/ 12192000 w 12192000"/>
              <a:gd name="connsiteY1" fmla="*/ 0 h 6857999"/>
              <a:gd name="connsiteX2" fmla="*/ 12192000 w 12192000"/>
              <a:gd name="connsiteY2" fmla="*/ 6857999 h 6857999"/>
              <a:gd name="connsiteX3" fmla="*/ 9129861 w 12192000"/>
              <a:gd name="connsiteY3" fmla="*/ 6857999 h 6857999"/>
              <a:gd name="connsiteX4" fmla="*/ 9129861 w 12192000"/>
              <a:gd name="connsiteY4" fmla="*/ 6525343 h 6857999"/>
              <a:gd name="connsiteX5" fmla="*/ 9132754 w 12192000"/>
              <a:gd name="connsiteY5" fmla="*/ 6525343 h 6857999"/>
              <a:gd name="connsiteX6" fmla="*/ 9132754 w 12192000"/>
              <a:gd name="connsiteY6" fmla="*/ 6451406 h 6857999"/>
              <a:gd name="connsiteX7" fmla="*/ 9132754 w 12192000"/>
              <a:gd name="connsiteY7" fmla="*/ 5050775 h 6857999"/>
              <a:gd name="connsiteX8" fmla="*/ 9132754 w 12192000"/>
              <a:gd name="connsiteY8" fmla="*/ 2711435 h 6857999"/>
              <a:gd name="connsiteX9" fmla="*/ 9133722 w 12192000"/>
              <a:gd name="connsiteY9" fmla="*/ 2711435 h 6857999"/>
              <a:gd name="connsiteX10" fmla="*/ 8523560 w 12192000"/>
              <a:gd name="connsiteY10" fmla="*/ 2109455 h 6857999"/>
              <a:gd name="connsiteX11" fmla="*/ 8416132 w 12192000"/>
              <a:gd name="connsiteY11" fmla="*/ 2109455 h 6857999"/>
              <a:gd name="connsiteX12" fmla="*/ 8397240 w 12192000"/>
              <a:gd name="connsiteY12" fmla="*/ 2107550 h 6857999"/>
              <a:gd name="connsiteX13" fmla="*/ 7579995 w 12192000"/>
              <a:gd name="connsiteY13" fmla="*/ 2107550 h 6857999"/>
              <a:gd name="connsiteX14" fmla="*/ 1969771 w 12192000"/>
              <a:gd name="connsiteY14" fmla="*/ 2107550 h 6857999"/>
              <a:gd name="connsiteX15" fmla="*/ 1859984 w 12192000"/>
              <a:gd name="connsiteY15" fmla="*/ 2088924 h 6857999"/>
              <a:gd name="connsiteX16" fmla="*/ 1387276 w 12192000"/>
              <a:gd name="connsiteY16" fmla="*/ 1478900 h 6857999"/>
              <a:gd name="connsiteX17" fmla="*/ 1387276 w 12192000"/>
              <a:gd name="connsiteY17" fmla="*/ 1116950 h 6857999"/>
              <a:gd name="connsiteX18" fmla="*/ 874035 w 12192000"/>
              <a:gd name="connsiteY18" fmla="*/ 496377 h 6857999"/>
              <a:gd name="connsiteX19" fmla="*/ 865733 w 12192000"/>
              <a:gd name="connsiteY19" fmla="*/ 495556 h 6857999"/>
              <a:gd name="connsiteX20" fmla="*/ 862233 w 12192000"/>
              <a:gd name="connsiteY20" fmla="*/ 494472 h 6857999"/>
              <a:gd name="connsiteX21" fmla="*/ 734378 w 12192000"/>
              <a:gd name="connsiteY21" fmla="*/ 481632 h 6857999"/>
              <a:gd name="connsiteX22" fmla="*/ 263352 w 12192000"/>
              <a:gd name="connsiteY22" fmla="*/ 481632 h 6857999"/>
              <a:gd name="connsiteX23" fmla="*/ 263352 w 12192000"/>
              <a:gd name="connsiteY23" fmla="*/ 483393 h 6857999"/>
              <a:gd name="connsiteX24" fmla="*/ 0 w 12192000"/>
              <a:gd name="connsiteY24" fmla="*/ 483393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2192000" h="6857999"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9129861" y="6857999"/>
                </a:lnTo>
                <a:lnTo>
                  <a:pt x="9129861" y="6525343"/>
                </a:lnTo>
                <a:lnTo>
                  <a:pt x="9132754" y="6525343"/>
                </a:lnTo>
                <a:lnTo>
                  <a:pt x="9132754" y="6451406"/>
                </a:lnTo>
                <a:cubicBezTo>
                  <a:pt x="9132754" y="6014336"/>
                  <a:pt x="9132754" y="5279315"/>
                  <a:pt x="9132754" y="5050775"/>
                </a:cubicBezTo>
                <a:lnTo>
                  <a:pt x="9132754" y="2711435"/>
                </a:lnTo>
                <a:lnTo>
                  <a:pt x="9133722" y="2711435"/>
                </a:lnTo>
                <a:cubicBezTo>
                  <a:pt x="9134688" y="2379012"/>
                  <a:pt x="8861035" y="2109455"/>
                  <a:pt x="8523560" y="2109455"/>
                </a:cubicBezTo>
                <a:lnTo>
                  <a:pt x="8416132" y="2109455"/>
                </a:lnTo>
                <a:lnTo>
                  <a:pt x="8397240" y="2107550"/>
                </a:lnTo>
                <a:lnTo>
                  <a:pt x="7579995" y="2107550"/>
                </a:lnTo>
                <a:lnTo>
                  <a:pt x="1969771" y="2107550"/>
                </a:lnTo>
                <a:lnTo>
                  <a:pt x="1859984" y="2088924"/>
                </a:lnTo>
                <a:cubicBezTo>
                  <a:pt x="1587168" y="2015634"/>
                  <a:pt x="1387276" y="1770603"/>
                  <a:pt x="1387276" y="1478900"/>
                </a:cubicBezTo>
                <a:lnTo>
                  <a:pt x="1387276" y="1116950"/>
                </a:lnTo>
                <a:cubicBezTo>
                  <a:pt x="1387276" y="810245"/>
                  <a:pt x="1167395" y="555317"/>
                  <a:pt x="874035" y="496377"/>
                </a:cubicBezTo>
                <a:lnTo>
                  <a:pt x="865733" y="495556"/>
                </a:lnTo>
                <a:lnTo>
                  <a:pt x="862233" y="494472"/>
                </a:lnTo>
                <a:cubicBezTo>
                  <a:pt x="820952" y="486052"/>
                  <a:pt x="778193" y="481632"/>
                  <a:pt x="734378" y="481632"/>
                </a:cubicBezTo>
                <a:lnTo>
                  <a:pt x="263352" y="481632"/>
                </a:lnTo>
                <a:lnTo>
                  <a:pt x="263352" y="483393"/>
                </a:lnTo>
                <a:lnTo>
                  <a:pt x="0" y="48339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53035" y="4328795"/>
            <a:ext cx="7280681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97BA0EDE-E365-4B88-82E1-FD80DF264239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53081" y="5417396"/>
            <a:ext cx="514394" cy="6123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6402" tIns="43201" rIns="86402" bIns="43201" numCol="1" anchor="t" anchorCtr="0" compatLnSpc="1">
            <a:prstTxWarp prst="textNoShape">
              <a:avLst/>
            </a:prstTxWarp>
          </a:bodyPr>
          <a:lstStyle/>
          <a:p>
            <a:endParaRPr lang="en-US" sz="2173" dirty="0"/>
          </a:p>
        </p:txBody>
      </p:sp>
    </p:spTree>
    <p:extLst>
      <p:ext uri="{BB962C8B-B14F-4D97-AF65-F5344CB8AC3E}">
        <p14:creationId xmlns:p14="http://schemas.microsoft.com/office/powerpoint/2010/main" val="2377149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5C99E870-5021-4065-9A28-480494C5D2F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3" y="0"/>
            <a:ext cx="7719341" cy="6480175"/>
          </a:xfrm>
          <a:custGeom>
            <a:avLst/>
            <a:gdLst>
              <a:gd name="connsiteX0" fmla="*/ 0 w 8168165"/>
              <a:gd name="connsiteY0" fmla="*/ 0 h 6858000"/>
              <a:gd name="connsiteX1" fmla="*/ 8168165 w 8168165"/>
              <a:gd name="connsiteY1" fmla="*/ 0 h 6858000"/>
              <a:gd name="connsiteX2" fmla="*/ 8166894 w 8168165"/>
              <a:gd name="connsiteY2" fmla="*/ 468273 h 6858000"/>
              <a:gd name="connsiteX3" fmla="*/ 8165601 w 8168165"/>
              <a:gd name="connsiteY3" fmla="*/ 944495 h 6858000"/>
              <a:gd name="connsiteX4" fmla="*/ 7622354 w 8168165"/>
              <a:gd name="connsiteY4" fmla="*/ 1488440 h 6858000"/>
              <a:gd name="connsiteX5" fmla="*/ 4623367 w 8168165"/>
              <a:gd name="connsiteY5" fmla="*/ 1488440 h 6858000"/>
              <a:gd name="connsiteX6" fmla="*/ 4526678 w 8168165"/>
              <a:gd name="connsiteY6" fmla="*/ 1488440 h 6858000"/>
              <a:gd name="connsiteX7" fmla="*/ 3983432 w 8168165"/>
              <a:gd name="connsiteY7" fmla="*/ 2032385 h 6858000"/>
              <a:gd name="connsiteX8" fmla="*/ 3984357 w 8168165"/>
              <a:gd name="connsiteY8" fmla="*/ 2032385 h 6858000"/>
              <a:gd name="connsiteX9" fmla="*/ 3984357 w 8168165"/>
              <a:gd name="connsiteY9" fmla="*/ 4045072 h 6858000"/>
              <a:gd name="connsiteX10" fmla="*/ 3441109 w 8168165"/>
              <a:gd name="connsiteY10" fmla="*/ 4589017 h 6858000"/>
              <a:gd name="connsiteX11" fmla="*/ 3110235 w 8168165"/>
              <a:gd name="connsiteY11" fmla="*/ 4589017 h 6858000"/>
              <a:gd name="connsiteX12" fmla="*/ 3013546 w 8168165"/>
              <a:gd name="connsiteY12" fmla="*/ 4589017 h 6858000"/>
              <a:gd name="connsiteX13" fmla="*/ 2470298 w 8168165"/>
              <a:gd name="connsiteY13" fmla="*/ 5132963 h 6858000"/>
              <a:gd name="connsiteX14" fmla="*/ 2470298 w 8168165"/>
              <a:gd name="connsiteY14" fmla="*/ 6858000 h 6858000"/>
              <a:gd name="connsiteX15" fmla="*/ 0 w 8168165"/>
              <a:gd name="connsiteY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168165" h="6858000">
                <a:moveTo>
                  <a:pt x="0" y="0"/>
                </a:moveTo>
                <a:lnTo>
                  <a:pt x="8168165" y="0"/>
                </a:lnTo>
                <a:lnTo>
                  <a:pt x="8166894" y="468273"/>
                </a:lnTo>
                <a:cubicBezTo>
                  <a:pt x="8166463" y="628601"/>
                  <a:pt x="8166032" y="788929"/>
                  <a:pt x="8165601" y="944495"/>
                </a:cubicBezTo>
                <a:cubicBezTo>
                  <a:pt x="8165601" y="1244731"/>
                  <a:pt x="7922204" y="1488440"/>
                  <a:pt x="7622354" y="1488440"/>
                </a:cubicBezTo>
                <a:lnTo>
                  <a:pt x="4623367" y="1488440"/>
                </a:lnTo>
                <a:lnTo>
                  <a:pt x="4526678" y="1488440"/>
                </a:lnTo>
                <a:cubicBezTo>
                  <a:pt x="4226828" y="1488440"/>
                  <a:pt x="3983432" y="1732150"/>
                  <a:pt x="3983432" y="2032385"/>
                </a:cubicBezTo>
                <a:lnTo>
                  <a:pt x="3984357" y="2032385"/>
                </a:lnTo>
                <a:lnTo>
                  <a:pt x="3984357" y="4045072"/>
                </a:lnTo>
                <a:cubicBezTo>
                  <a:pt x="3984357" y="4345308"/>
                  <a:pt x="3740960" y="4589017"/>
                  <a:pt x="3441109" y="4589017"/>
                </a:cubicBezTo>
                <a:lnTo>
                  <a:pt x="3110235" y="4589017"/>
                </a:lnTo>
                <a:lnTo>
                  <a:pt x="3013546" y="4589017"/>
                </a:lnTo>
                <a:cubicBezTo>
                  <a:pt x="2713695" y="4589017"/>
                  <a:pt x="2470298" y="4832727"/>
                  <a:pt x="2470298" y="5132963"/>
                </a:cubicBezTo>
                <a:lnTo>
                  <a:pt x="247029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00011" y="1879421"/>
            <a:ext cx="6668288" cy="2313133"/>
          </a:xfrm>
        </p:spPr>
        <p:txBody>
          <a:bodyPr anchor="b"/>
          <a:lstStyle>
            <a:lvl1pPr>
              <a:lnSpc>
                <a:spcPct val="90000"/>
              </a:lnSpc>
              <a:defRPr sz="510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  <a:br>
              <a:rPr lang="en-US" dirty="0"/>
            </a:br>
            <a:r>
              <a:rPr lang="en-US" dirty="0"/>
              <a:t>to separate chapters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400011" y="4351123"/>
            <a:ext cx="6668288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pPr marL="0" marR="0" lvl="4" indent="0" algn="l" defTabSz="8640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 dirty="0"/>
              <a:t>Click to add fur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40700779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3.emf"/><Relationship Id="rId5" Type="http://schemas.openxmlformats.org/officeDocument/2006/relationships/theme" Target="../theme/theme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7F69FE27-94B1-434B-B65A-7B0E4179E98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alphaModFix amt="9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-20000"/>
                    </a14:imgEffect>
                    <a14:imgEffect>
                      <a14:brightnessContrast bright="-5000" contras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" r="14596" b="23363"/>
          <a:stretch/>
        </p:blipFill>
        <p:spPr>
          <a:xfrm>
            <a:off x="5177319" y="46383"/>
            <a:ext cx="6342174" cy="649356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91389117"/>
              </p:ext>
            </p:extLst>
          </p:nvPr>
        </p:nvGraphicFramePr>
        <p:xfrm>
          <a:off x="1816" y="1362"/>
          <a:ext cx="1815" cy="1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6" y="1362"/>
                        <a:ext cx="1815" cy="13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jekt 2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816" y="1362"/>
            <a:ext cx="1815" cy="1360"/>
          </a:xfrm>
          <a:prstGeom prst="rect">
            <a:avLst/>
          </a:prstGeom>
          <a:noFill/>
        </p:spPr>
      </p:pic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411478" y="240653"/>
            <a:ext cx="10698405" cy="503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11477" y="1388378"/>
            <a:ext cx="10698407" cy="4165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5" name="Picture 4" descr="Schematic&#10;&#10;Description automatically generated">
            <a:extLst>
              <a:ext uri="{FF2B5EF4-FFF2-40B4-BE49-F238E27FC236}">
                <a16:creationId xmlns:a16="http://schemas.microsoft.com/office/drawing/2014/main" id="{50373CC2-A269-455B-8B47-47CE50D16843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763076" y="5743376"/>
            <a:ext cx="756418" cy="820689"/>
          </a:xfrm>
          <a:prstGeom prst="rect">
            <a:avLst/>
          </a:prstGeom>
        </p:spPr>
      </p:pic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3C30636E-4EC6-475B-B2D8-37972152D8B3}"/>
              </a:ext>
            </a:extLst>
          </p:cNvPr>
          <p:cNvSpPr/>
          <p:nvPr userDrawn="1"/>
        </p:nvSpPr>
        <p:spPr>
          <a:xfrm>
            <a:off x="411477" y="5985001"/>
            <a:ext cx="272160" cy="324000"/>
          </a:xfrm>
          <a:custGeom>
            <a:avLst/>
            <a:gdLst>
              <a:gd name="connsiteX0" fmla="*/ 269702 w 1132749"/>
              <a:gd name="connsiteY0" fmla="*/ 890017 h 1348511"/>
              <a:gd name="connsiteX1" fmla="*/ 0 w 1132749"/>
              <a:gd name="connsiteY1" fmla="*/ 890017 h 1348511"/>
              <a:gd name="connsiteX2" fmla="*/ 0 w 1132749"/>
              <a:gd name="connsiteY2" fmla="*/ 620315 h 1348511"/>
              <a:gd name="connsiteX3" fmla="*/ 269702 w 1132749"/>
              <a:gd name="connsiteY3" fmla="*/ 620315 h 1348511"/>
              <a:gd name="connsiteX4" fmla="*/ 0 w 1132749"/>
              <a:gd name="connsiteY4" fmla="*/ 0 h 1348511"/>
              <a:gd name="connsiteX5" fmla="*/ 0 w 1132749"/>
              <a:gd name="connsiteY5" fmla="*/ 458494 h 1348511"/>
              <a:gd name="connsiteX6" fmla="*/ 80911 w 1132749"/>
              <a:gd name="connsiteY6" fmla="*/ 458494 h 1348511"/>
              <a:gd name="connsiteX7" fmla="*/ 80911 w 1132749"/>
              <a:gd name="connsiteY7" fmla="*/ 445009 h 1348511"/>
              <a:gd name="connsiteX8" fmla="*/ 431524 w 1132749"/>
              <a:gd name="connsiteY8" fmla="*/ 94396 h 1348511"/>
              <a:gd name="connsiteX9" fmla="*/ 445009 w 1132749"/>
              <a:gd name="connsiteY9" fmla="*/ 94396 h 1348511"/>
              <a:gd name="connsiteX10" fmla="*/ 445009 w 1132749"/>
              <a:gd name="connsiteY10" fmla="*/ 1065324 h 1348511"/>
              <a:gd name="connsiteX11" fmla="*/ 256217 w 1132749"/>
              <a:gd name="connsiteY11" fmla="*/ 1254115 h 1348511"/>
              <a:gd name="connsiteX12" fmla="*/ 215762 w 1132749"/>
              <a:gd name="connsiteY12" fmla="*/ 1254115 h 1348511"/>
              <a:gd name="connsiteX13" fmla="*/ 215762 w 1132749"/>
              <a:gd name="connsiteY13" fmla="*/ 1348511 h 1348511"/>
              <a:gd name="connsiteX14" fmla="*/ 916988 w 1132749"/>
              <a:gd name="connsiteY14" fmla="*/ 1348511 h 1348511"/>
              <a:gd name="connsiteX15" fmla="*/ 916988 w 1132749"/>
              <a:gd name="connsiteY15" fmla="*/ 1254115 h 1348511"/>
              <a:gd name="connsiteX16" fmla="*/ 876532 w 1132749"/>
              <a:gd name="connsiteY16" fmla="*/ 1254115 h 1348511"/>
              <a:gd name="connsiteX17" fmla="*/ 687741 w 1132749"/>
              <a:gd name="connsiteY17" fmla="*/ 1065324 h 1348511"/>
              <a:gd name="connsiteX18" fmla="*/ 687741 w 1132749"/>
              <a:gd name="connsiteY18" fmla="*/ 94396 h 1348511"/>
              <a:gd name="connsiteX19" fmla="*/ 701226 w 1132749"/>
              <a:gd name="connsiteY19" fmla="*/ 94396 h 1348511"/>
              <a:gd name="connsiteX20" fmla="*/ 1051839 w 1132749"/>
              <a:gd name="connsiteY20" fmla="*/ 445009 h 1348511"/>
              <a:gd name="connsiteX21" fmla="*/ 1051839 w 1132749"/>
              <a:gd name="connsiteY21" fmla="*/ 458494 h 1348511"/>
              <a:gd name="connsiteX22" fmla="*/ 1132749 w 1132749"/>
              <a:gd name="connsiteY22" fmla="*/ 458494 h 1348511"/>
              <a:gd name="connsiteX23" fmla="*/ 1132749 w 1132749"/>
              <a:gd name="connsiteY23" fmla="*/ 0 h 1348511"/>
              <a:gd name="connsiteX24" fmla="*/ 863047 w 1132749"/>
              <a:gd name="connsiteY24" fmla="*/ 890017 h 1348511"/>
              <a:gd name="connsiteX25" fmla="*/ 1132749 w 1132749"/>
              <a:gd name="connsiteY25" fmla="*/ 890017 h 1348511"/>
              <a:gd name="connsiteX26" fmla="*/ 1132749 w 1132749"/>
              <a:gd name="connsiteY26" fmla="*/ 620315 h 1348511"/>
              <a:gd name="connsiteX27" fmla="*/ 863047 w 1132749"/>
              <a:gd name="connsiteY27" fmla="*/ 620315 h 1348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132749" h="1348511">
                <a:moveTo>
                  <a:pt x="269702" y="890017"/>
                </a:moveTo>
                <a:lnTo>
                  <a:pt x="0" y="890017"/>
                </a:lnTo>
                <a:lnTo>
                  <a:pt x="0" y="620315"/>
                </a:lnTo>
                <a:lnTo>
                  <a:pt x="269702" y="620315"/>
                </a:lnTo>
                <a:close/>
                <a:moveTo>
                  <a:pt x="0" y="0"/>
                </a:moveTo>
                <a:lnTo>
                  <a:pt x="0" y="458494"/>
                </a:lnTo>
                <a:lnTo>
                  <a:pt x="80911" y="458494"/>
                </a:lnTo>
                <a:lnTo>
                  <a:pt x="80911" y="445009"/>
                </a:lnTo>
                <a:cubicBezTo>
                  <a:pt x="80911" y="229247"/>
                  <a:pt x="202277" y="94396"/>
                  <a:pt x="431524" y="94396"/>
                </a:cubicBezTo>
                <a:lnTo>
                  <a:pt x="445009" y="94396"/>
                </a:lnTo>
                <a:lnTo>
                  <a:pt x="445009" y="1065324"/>
                </a:lnTo>
                <a:cubicBezTo>
                  <a:pt x="445009" y="1200175"/>
                  <a:pt x="391068" y="1254115"/>
                  <a:pt x="256217" y="1254115"/>
                </a:cubicBezTo>
                <a:lnTo>
                  <a:pt x="215762" y="1254115"/>
                </a:lnTo>
                <a:lnTo>
                  <a:pt x="215762" y="1348511"/>
                </a:lnTo>
                <a:lnTo>
                  <a:pt x="916988" y="1348511"/>
                </a:lnTo>
                <a:lnTo>
                  <a:pt x="916988" y="1254115"/>
                </a:lnTo>
                <a:lnTo>
                  <a:pt x="876532" y="1254115"/>
                </a:lnTo>
                <a:cubicBezTo>
                  <a:pt x="741681" y="1254115"/>
                  <a:pt x="687741" y="1200175"/>
                  <a:pt x="687741" y="1065324"/>
                </a:cubicBezTo>
                <a:lnTo>
                  <a:pt x="687741" y="94396"/>
                </a:lnTo>
                <a:lnTo>
                  <a:pt x="701226" y="94396"/>
                </a:lnTo>
                <a:cubicBezTo>
                  <a:pt x="930473" y="94396"/>
                  <a:pt x="1051839" y="229247"/>
                  <a:pt x="1051839" y="445009"/>
                </a:cubicBezTo>
                <a:lnTo>
                  <a:pt x="1051839" y="458494"/>
                </a:lnTo>
                <a:lnTo>
                  <a:pt x="1132749" y="458494"/>
                </a:lnTo>
                <a:lnTo>
                  <a:pt x="1132749" y="0"/>
                </a:lnTo>
                <a:close/>
                <a:moveTo>
                  <a:pt x="863047" y="890017"/>
                </a:moveTo>
                <a:lnTo>
                  <a:pt x="1132749" y="890017"/>
                </a:lnTo>
                <a:lnTo>
                  <a:pt x="1132749" y="620315"/>
                </a:lnTo>
                <a:lnTo>
                  <a:pt x="863047" y="620315"/>
                </a:lnTo>
                <a:close/>
              </a:path>
            </a:pathLst>
          </a:custGeom>
          <a:solidFill>
            <a:srgbClr val="FFFFFF"/>
          </a:solidFill>
          <a:ln w="134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406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7" r:id="rId1"/>
    <p:sldLayoutId id="2147484675" r:id="rId2"/>
    <p:sldLayoutId id="2147484674" r:id="rId3"/>
    <p:sldLayoutId id="2147484680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indent="0" algn="l" defTabSz="391936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4000" kern="1200" dirty="0">
          <a:solidFill>
            <a:schemeClr val="tx2"/>
          </a:solidFill>
          <a:latin typeface="+mj-lt"/>
          <a:ea typeface="+mj-ea"/>
          <a:cs typeface="TeleGrotesk Headline Ultra" pitchFamily="2" charset="0"/>
        </a:defRPr>
      </a:lvl1pPr>
      <a:lvl2pPr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2pPr>
      <a:lvl3pPr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3pPr>
      <a:lvl4pPr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4pPr>
      <a:lvl5pPr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5pPr>
      <a:lvl6pPr marL="391807"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6pPr>
      <a:lvl7pPr marL="783613"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7pPr>
      <a:lvl8pPr marL="1175420"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8pPr>
      <a:lvl9pPr marL="1567225"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9pPr>
    </p:titleStyle>
    <p:bodyStyle>
      <a:lvl1pPr algn="l" defTabSz="493840" rtl="0" eaLnBrk="1" fontAlgn="base" hangingPunct="1">
        <a:lnSpc>
          <a:spcPct val="104000"/>
        </a:lnSpc>
        <a:spcBef>
          <a:spcPts val="1028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bg1"/>
          </a:solidFill>
          <a:latin typeface="+mn-lt"/>
          <a:ea typeface="+mn-ea"/>
          <a:cs typeface="+mn-cs"/>
        </a:defRPr>
      </a:lvl1pPr>
      <a:lvl2pPr marL="1361" algn="l" defTabSz="493840" rtl="0" eaLnBrk="1" fontAlgn="base" hangingPunct="1">
        <a:lnSpc>
          <a:spcPct val="104000"/>
        </a:lnSpc>
        <a:spcBef>
          <a:spcPts val="257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185117" indent="-185117" algn="l" defTabSz="493840" rtl="0" eaLnBrk="1" fontAlgn="base" hangingPunct="1">
        <a:lnSpc>
          <a:spcPct val="104000"/>
        </a:lnSpc>
        <a:spcBef>
          <a:spcPts val="257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370234" indent="-185020" algn="l" defTabSz="493840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555352" indent="-185117" algn="l" defTabSz="493840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154936" indent="-195903" algn="l" defTabSz="391807" rtl="0" eaLnBrk="1" latinLnBrk="0" hangingPunct="1">
        <a:spcBef>
          <a:spcPct val="20000"/>
        </a:spcBef>
        <a:buFont typeface="Arial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546741" indent="-195903" algn="l" defTabSz="391807" rtl="0" eaLnBrk="1" latinLnBrk="0" hangingPunct="1">
        <a:spcBef>
          <a:spcPct val="20000"/>
        </a:spcBef>
        <a:buFont typeface="Arial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2938547" indent="-195903" algn="l" defTabSz="391807" rtl="0" eaLnBrk="1" latinLnBrk="0" hangingPunct="1">
        <a:spcBef>
          <a:spcPct val="20000"/>
        </a:spcBef>
        <a:buFont typeface="Arial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330355" indent="-195903" algn="l" defTabSz="391807" rtl="0" eaLnBrk="1" latinLnBrk="0" hangingPunct="1">
        <a:spcBef>
          <a:spcPct val="20000"/>
        </a:spcBef>
        <a:buFont typeface="Arial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1pPr>
      <a:lvl2pPr marL="391807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2pPr>
      <a:lvl3pPr marL="783613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3pPr>
      <a:lvl4pPr marL="1175420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4pPr>
      <a:lvl5pPr marL="1567225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5pPr>
      <a:lvl6pPr marL="1959033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6pPr>
      <a:lvl7pPr marL="2350839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7pPr>
      <a:lvl8pPr marL="2742645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8pPr>
      <a:lvl9pPr marL="3134451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2">
          <p15:clr>
            <a:srgbClr val="F26B43"/>
          </p15:clr>
        </p15:guide>
        <p15:guide id="2" pos="3220">
          <p15:clr>
            <a:srgbClr val="F26B43"/>
          </p15:clr>
        </p15:guide>
        <p15:guide id="3" orient="horz" pos="1021">
          <p15:clr>
            <a:srgbClr val="F26B43"/>
          </p15:clr>
        </p15:guide>
        <p15:guide id="5" orient="horz" pos="4082">
          <p15:clr>
            <a:srgbClr val="F26B43"/>
          </p15:clr>
        </p15:guide>
        <p15:guide id="6" pos="227">
          <p15:clr>
            <a:srgbClr val="F26B43"/>
          </p15:clr>
        </p15:guide>
        <p15:guide id="7" pos="6123">
          <p15:clr>
            <a:srgbClr val="F26B43"/>
          </p15:clr>
        </p15:guide>
        <p15:guide id="8" orient="horz" pos="3856">
          <p15:clr>
            <a:srgbClr val="F26B43"/>
          </p15:clr>
        </p15:guide>
        <p15:guide id="10" orient="horz" pos="749">
          <p15:clr>
            <a:srgbClr val="F26B43"/>
          </p15:clr>
        </p15:guide>
        <p15:guide id="11" orient="horz" pos="227">
          <p15:clr>
            <a:srgbClr val="F26B43"/>
          </p15:clr>
        </p15:guide>
        <p15:guide id="12" pos="1724">
          <p15:clr>
            <a:srgbClr val="F26B43"/>
          </p15:clr>
        </p15:guide>
        <p15:guide id="13" pos="1633">
          <p15:clr>
            <a:srgbClr val="F26B43"/>
          </p15:clr>
        </p15:guide>
        <p15:guide id="14" pos="3175">
          <p15:clr>
            <a:srgbClr val="F26B43"/>
          </p15:clr>
        </p15:guide>
        <p15:guide id="15" pos="3130">
          <p15:clr>
            <a:srgbClr val="F26B43"/>
          </p15:clr>
        </p15:guide>
        <p15:guide id="16" pos="4717">
          <p15:clr>
            <a:srgbClr val="F26B43"/>
          </p15:clr>
        </p15:guide>
        <p15:guide id="17" pos="4627">
          <p15:clr>
            <a:srgbClr val="F26B43"/>
          </p15:clr>
        </p15:guide>
        <p15:guide id="18" orient="horz" pos="4309">
          <p15:clr>
            <a:srgbClr val="F26B43"/>
          </p15:clr>
        </p15:guide>
        <p15:guide id="19" orient="horz" pos="453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53036" y="382688"/>
            <a:ext cx="10616004" cy="6803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53036" y="1402915"/>
            <a:ext cx="10616004" cy="46268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53035" y="6102094"/>
            <a:ext cx="7893075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 kern="9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830887" y="6102094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Gerader Verbinder 34">
            <a:extLst>
              <a:ext uri="{FF2B5EF4-FFF2-40B4-BE49-F238E27FC236}">
                <a16:creationId xmlns:a16="http://schemas.microsoft.com/office/drawing/2014/main" id="{14C803C2-54F8-44FA-92F2-020B1F353F1D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42408" y="399378"/>
            <a:ext cx="0" cy="102066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4">
            <a:extLst>
              <a:ext uri="{FF2B5EF4-FFF2-40B4-BE49-F238E27FC236}">
                <a16:creationId xmlns:a16="http://schemas.microsoft.com/office/drawing/2014/main" id="{4B902B05-1723-406D-AA6C-F5057A006088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42408" y="1351882"/>
            <a:ext cx="0" cy="102066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34">
            <a:extLst>
              <a:ext uri="{FF2B5EF4-FFF2-40B4-BE49-F238E27FC236}">
                <a16:creationId xmlns:a16="http://schemas.microsoft.com/office/drawing/2014/main" id="{D6D29559-44C7-4941-896C-4CC7479D1C56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42408" y="5978731"/>
            <a:ext cx="0" cy="102066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8">
            <a:extLst>
              <a:ext uri="{FF2B5EF4-FFF2-40B4-BE49-F238E27FC236}">
                <a16:creationId xmlns:a16="http://schemas.microsoft.com/office/drawing/2014/main" id="{3159F292-8650-4011-8F79-F0F8445554F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624950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9">
            <a:extLst>
              <a:ext uri="{FF2B5EF4-FFF2-40B4-BE49-F238E27FC236}">
                <a16:creationId xmlns:a16="http://schemas.microsoft.com/office/drawing/2014/main" id="{0AB2BE8A-7D23-4183-92E1-67974A2A48D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897125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0">
            <a:extLst>
              <a:ext uri="{FF2B5EF4-FFF2-40B4-BE49-F238E27FC236}">
                <a16:creationId xmlns:a16="http://schemas.microsoft.com/office/drawing/2014/main" id="{0BA59727-F03E-4EC2-9B92-7D69C5F5132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462351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31">
            <a:extLst>
              <a:ext uri="{FF2B5EF4-FFF2-40B4-BE49-F238E27FC236}">
                <a16:creationId xmlns:a16="http://schemas.microsoft.com/office/drawing/2014/main" id="{32C65FE0-1662-4138-9EC0-2084F3C28B3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734526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32">
            <a:extLst>
              <a:ext uri="{FF2B5EF4-FFF2-40B4-BE49-F238E27FC236}">
                <a16:creationId xmlns:a16="http://schemas.microsoft.com/office/drawing/2014/main" id="{42888836-7369-4EBE-9C9E-BC058C8CD2B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787549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33">
            <a:extLst>
              <a:ext uri="{FF2B5EF4-FFF2-40B4-BE49-F238E27FC236}">
                <a16:creationId xmlns:a16="http://schemas.microsoft.com/office/drawing/2014/main" id="{F6F33C3B-02CE-4B5A-B9EB-599779C6DB7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59724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34">
            <a:extLst>
              <a:ext uri="{FF2B5EF4-FFF2-40B4-BE49-F238E27FC236}">
                <a16:creationId xmlns:a16="http://schemas.microsoft.com/office/drawing/2014/main" id="{C344823A-990C-43BB-B408-74B9E1FE77B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902882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35">
            <a:extLst>
              <a:ext uri="{FF2B5EF4-FFF2-40B4-BE49-F238E27FC236}">
                <a16:creationId xmlns:a16="http://schemas.microsoft.com/office/drawing/2014/main" id="{6EA706A0-6BB7-43C8-B37D-05491A7807E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175057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36">
            <a:extLst>
              <a:ext uri="{FF2B5EF4-FFF2-40B4-BE49-F238E27FC236}">
                <a16:creationId xmlns:a16="http://schemas.microsoft.com/office/drawing/2014/main" id="{42186059-4E4C-477D-9823-0FFE8C074BD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47018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37">
            <a:extLst>
              <a:ext uri="{FF2B5EF4-FFF2-40B4-BE49-F238E27FC236}">
                <a16:creationId xmlns:a16="http://schemas.microsoft.com/office/drawing/2014/main" id="{4AA6CC68-3E73-4520-B2BF-0725CB4DEBD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619193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34">
            <a:extLst>
              <a:ext uri="{FF2B5EF4-FFF2-40B4-BE49-F238E27FC236}">
                <a16:creationId xmlns:a16="http://schemas.microsoft.com/office/drawing/2014/main" id="{85A3413B-24C0-4ECC-8944-5D07079CD4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3035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37">
            <a:extLst>
              <a:ext uri="{FF2B5EF4-FFF2-40B4-BE49-F238E27FC236}">
                <a16:creationId xmlns:a16="http://schemas.microsoft.com/office/drawing/2014/main" id="{D99F39C2-4277-490B-8A1B-54EAF79A4C7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069040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8507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4" r:id="rId1"/>
    <p:sldLayoutId id="2147484695" r:id="rId2"/>
    <p:sldLayoutId id="2147484696" r:id="rId3"/>
    <p:sldLayoutId id="2147484697" r:id="rId4"/>
    <p:sldLayoutId id="2147484698" r:id="rId5"/>
    <p:sldLayoutId id="2147484699" r:id="rId6"/>
    <p:sldLayoutId id="2147484700" r:id="rId7"/>
    <p:sldLayoutId id="2147484701" r:id="rId8"/>
    <p:sldLayoutId id="2147484702" r:id="rId9"/>
    <p:sldLayoutId id="2147484703" r:id="rId10"/>
    <p:sldLayoutId id="2147484704" r:id="rId11"/>
    <p:sldLayoutId id="2147484705" r:id="rId12"/>
    <p:sldLayoutId id="2147484706" r:id="rId13"/>
    <p:sldLayoutId id="2147484707" r:id="rId14"/>
    <p:sldLayoutId id="2147484708" r:id="rId15"/>
    <p:sldLayoutId id="2147484709" r:id="rId16"/>
    <p:sldLayoutId id="2147484710" r:id="rId17"/>
    <p:sldLayoutId id="2147484711" r:id="rId18"/>
    <p:sldLayoutId id="2147484712" r:id="rId19"/>
    <p:sldLayoutId id="2147484713" r:id="rId20"/>
    <p:sldLayoutId id="2147484714" r:id="rId21"/>
  </p:sldLayoutIdLst>
  <p:hf hd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378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64017" rtl="0" eaLnBrk="1" latinLnBrk="0" hangingPunct="1">
        <a:lnSpc>
          <a:spcPct val="100000"/>
        </a:lnSpc>
        <a:spcBef>
          <a:spcPts val="0"/>
        </a:spcBef>
        <a:spcAft>
          <a:spcPts val="850"/>
        </a:spcAft>
        <a:buFont typeface="Arial" panose="020B0604020202020204" pitchFamily="34" charset="0"/>
        <a:buNone/>
        <a:defRPr sz="170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136066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272131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408197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544262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680328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816394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952459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4" orient="horz" pos="4020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3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paperswithcode.com/method/shap" TargetMode="Externa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3FE4B25-E736-48B1-B659-95074273D9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0695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4" progId="TCLayout.ActiveDocument.1">
                  <p:embed/>
                </p:oleObj>
              </mc:Choice>
              <mc:Fallback>
                <p:oleObj name="think-cell Folie" r:id="rId3" imgW="384" imgH="38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3FE4B25-E736-48B1-B659-95074273D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40B3E22F-95A9-44A4-BF46-340FEB81B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88517" y="648148"/>
            <a:ext cx="5460323" cy="775597"/>
          </a:xfrm>
          <a:noFill/>
        </p:spPr>
        <p:txBody>
          <a:bodyPr vert="horz"/>
          <a:lstStyle/>
          <a:p>
            <a:pPr algn="ctr"/>
            <a:r>
              <a:rPr lang="en-US" sz="3600" dirty="0"/>
              <a:t>Explainer Dashboard Demo</a:t>
            </a:r>
            <a:br>
              <a:rPr lang="en-US" sz="3600" dirty="0"/>
            </a:br>
            <a:r>
              <a:rPr lang="cs-CZ" sz="1800" i="1" dirty="0">
                <a:latin typeface="+mn-lt"/>
              </a:rPr>
              <a:t>Štěpán Vondráček</a:t>
            </a:r>
            <a:endParaRPr lang="en-US" sz="3600" i="1" dirty="0">
              <a:latin typeface="+mn-lt"/>
            </a:endParaRPr>
          </a:p>
        </p:txBody>
      </p:sp>
      <p:sp>
        <p:nvSpPr>
          <p:cNvPr id="10" name="Titel 7">
            <a:extLst>
              <a:ext uri="{FF2B5EF4-FFF2-40B4-BE49-F238E27FC236}">
                <a16:creationId xmlns:a16="http://schemas.microsoft.com/office/drawing/2014/main" id="{87D60975-3CE0-44F2-952F-C962F1CE1F6E}"/>
              </a:ext>
            </a:extLst>
          </p:cNvPr>
          <p:cNvSpPr txBox="1">
            <a:spLocks/>
          </p:cNvSpPr>
          <p:nvPr/>
        </p:nvSpPr>
        <p:spPr bwMode="black">
          <a:xfrm>
            <a:off x="3690665" y="1580423"/>
            <a:ext cx="2856025" cy="249299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391936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5142" kern="1200" baseline="0" smtClean="0">
                <a:solidFill>
                  <a:schemeClr val="bg1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49384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71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49384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71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49384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71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49384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71">
                <a:solidFill>
                  <a:schemeClr val="tx2"/>
                </a:solidFill>
                <a:latin typeface="Tele-GroteskUlt" pitchFamily="2" charset="0"/>
              </a:defRPr>
            </a:lvl5pPr>
            <a:lvl6pPr marL="391807" algn="l" defTabSz="49384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71">
                <a:solidFill>
                  <a:schemeClr val="tx2"/>
                </a:solidFill>
                <a:latin typeface="Tele-GroteskUlt" pitchFamily="2" charset="0"/>
              </a:defRPr>
            </a:lvl6pPr>
            <a:lvl7pPr marL="783613" algn="l" defTabSz="49384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71">
                <a:solidFill>
                  <a:schemeClr val="tx2"/>
                </a:solidFill>
                <a:latin typeface="Tele-GroteskUlt" pitchFamily="2" charset="0"/>
              </a:defRPr>
            </a:lvl7pPr>
            <a:lvl8pPr marL="1175420" algn="l" defTabSz="49384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71">
                <a:solidFill>
                  <a:schemeClr val="tx2"/>
                </a:solidFill>
                <a:latin typeface="Tele-GroteskUlt" pitchFamily="2" charset="0"/>
              </a:defRPr>
            </a:lvl8pPr>
            <a:lvl9pPr marL="1567225" algn="l" defTabSz="49384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71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defTabSz="391857"/>
            <a:r>
              <a:rPr lang="de-DE" sz="1800" dirty="0">
                <a:solidFill>
                  <a:srgbClr val="FFFFFF"/>
                </a:solidFill>
              </a:rPr>
              <a:t>AIS Knowledge Exchange</a:t>
            </a:r>
            <a:endParaRPr lang="de-DE" sz="4000" dirty="0">
              <a:solidFill>
                <a:srgbClr val="FFFFFF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A8ED1E97-E3BE-4115-8145-1C18F0067AAD}"/>
              </a:ext>
            </a:extLst>
          </p:cNvPr>
          <p:cNvGrpSpPr/>
          <p:nvPr/>
        </p:nvGrpSpPr>
        <p:grpSpPr>
          <a:xfrm>
            <a:off x="7558575" y="1125649"/>
            <a:ext cx="3225052" cy="3547693"/>
            <a:chOff x="6810610" y="1385479"/>
            <a:chExt cx="3225546" cy="3548236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4B218F16-5822-4BE0-A8EC-6A24DF8D78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 r="14596" b="23363"/>
            <a:stretch/>
          </p:blipFill>
          <p:spPr>
            <a:xfrm>
              <a:off x="6810610" y="1385479"/>
              <a:ext cx="3225546" cy="3297839"/>
            </a:xfrm>
            <a:prstGeom prst="rect">
              <a:avLst/>
            </a:prstGeom>
          </p:spPr>
        </p:pic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980E62F8-6CA7-4B44-B890-C6442BBD83AA}"/>
                </a:ext>
              </a:extLst>
            </p:cNvPr>
            <p:cNvSpPr txBox="1"/>
            <p:nvPr/>
          </p:nvSpPr>
          <p:spPr bwMode="gray">
            <a:xfrm>
              <a:off x="7362907" y="4683318"/>
              <a:ext cx="2520564" cy="25039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square" lIns="71989" tIns="35994" rIns="71989" bIns="35994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1151912"/>
              <a:r>
                <a:rPr lang="de-DE" sz="1800" spc="300">
                  <a:solidFill>
                    <a:srgbClr val="E20074"/>
                  </a:solidFill>
                  <a:latin typeface="TeleGrotesk Headline Ultra"/>
                </a:rPr>
                <a:t>SHARED SERVICES</a:t>
              </a:r>
            </a:p>
          </p:txBody>
        </p:sp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012B0C3E-C944-4DCC-BB2F-D006E04E61C4}"/>
              </a:ext>
            </a:extLst>
          </p:cNvPr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00">
                <a:latin typeface="Tele-GroteskNor" pitchFamily="2" charset="0"/>
                <a:cs typeface="Arial Unicode MS" panose="020B0604020202020204" pitchFamily="34" charset="-128"/>
              </a:rPr>
              <a:t>296359464</a:t>
            </a:r>
            <a:endParaRPr lang="en-US" sz="1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49E9D5-66C9-4854-8BD2-CE8AA07401B6}"/>
              </a:ext>
            </a:extLst>
          </p:cNvPr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00">
                <a:latin typeface="Tele-GroteskNor" pitchFamily="2" charset="0"/>
                <a:cs typeface="Arial Unicode MS" panose="020B0604020202020204" pitchFamily="34" charset="-128"/>
              </a:rPr>
              <a:t>296359464</a:t>
            </a:r>
            <a:endParaRPr lang="en-US" sz="1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95573E1-7148-405F-8ED7-AE328D1B62C8}"/>
              </a:ext>
            </a:extLst>
          </p:cNvPr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00">
                <a:latin typeface="Tele-GroteskNor" pitchFamily="2" charset="0"/>
                <a:cs typeface="Arial Unicode MS" panose="020B0604020202020204" pitchFamily="34" charset="-128"/>
              </a:rPr>
              <a:t>278555704</a:t>
            </a:r>
            <a:endParaRPr lang="en-US" sz="1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89ABEE5-EC4B-44DA-8087-AB22624253D1}"/>
              </a:ext>
            </a:extLst>
          </p:cNvPr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00">
                <a:latin typeface="Tele-GroteskNor" pitchFamily="2" charset="0"/>
                <a:cs typeface="Arial Unicode MS" panose="020B0604020202020204" pitchFamily="34" charset="-128"/>
              </a:rPr>
              <a:t>0</a:t>
            </a:r>
            <a:endParaRPr lang="en-US" sz="1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213243C7-565D-496C-9E1C-8C1603EEF37E}"/>
              </a:ext>
            </a:extLst>
          </p:cNvPr>
          <p:cNvSpPr/>
          <p:nvPr/>
        </p:nvSpPr>
        <p:spPr>
          <a:xfrm>
            <a:off x="340467" y="5678621"/>
            <a:ext cx="420272" cy="500324"/>
          </a:xfrm>
          <a:custGeom>
            <a:avLst/>
            <a:gdLst>
              <a:gd name="connsiteX0" fmla="*/ 269702 w 1132749"/>
              <a:gd name="connsiteY0" fmla="*/ 890017 h 1348511"/>
              <a:gd name="connsiteX1" fmla="*/ 0 w 1132749"/>
              <a:gd name="connsiteY1" fmla="*/ 890017 h 1348511"/>
              <a:gd name="connsiteX2" fmla="*/ 0 w 1132749"/>
              <a:gd name="connsiteY2" fmla="*/ 620315 h 1348511"/>
              <a:gd name="connsiteX3" fmla="*/ 269702 w 1132749"/>
              <a:gd name="connsiteY3" fmla="*/ 620315 h 1348511"/>
              <a:gd name="connsiteX4" fmla="*/ 0 w 1132749"/>
              <a:gd name="connsiteY4" fmla="*/ 0 h 1348511"/>
              <a:gd name="connsiteX5" fmla="*/ 0 w 1132749"/>
              <a:gd name="connsiteY5" fmla="*/ 458494 h 1348511"/>
              <a:gd name="connsiteX6" fmla="*/ 80911 w 1132749"/>
              <a:gd name="connsiteY6" fmla="*/ 458494 h 1348511"/>
              <a:gd name="connsiteX7" fmla="*/ 80911 w 1132749"/>
              <a:gd name="connsiteY7" fmla="*/ 445009 h 1348511"/>
              <a:gd name="connsiteX8" fmla="*/ 431524 w 1132749"/>
              <a:gd name="connsiteY8" fmla="*/ 94396 h 1348511"/>
              <a:gd name="connsiteX9" fmla="*/ 445009 w 1132749"/>
              <a:gd name="connsiteY9" fmla="*/ 94396 h 1348511"/>
              <a:gd name="connsiteX10" fmla="*/ 445009 w 1132749"/>
              <a:gd name="connsiteY10" fmla="*/ 1065324 h 1348511"/>
              <a:gd name="connsiteX11" fmla="*/ 256217 w 1132749"/>
              <a:gd name="connsiteY11" fmla="*/ 1254115 h 1348511"/>
              <a:gd name="connsiteX12" fmla="*/ 215762 w 1132749"/>
              <a:gd name="connsiteY12" fmla="*/ 1254115 h 1348511"/>
              <a:gd name="connsiteX13" fmla="*/ 215762 w 1132749"/>
              <a:gd name="connsiteY13" fmla="*/ 1348511 h 1348511"/>
              <a:gd name="connsiteX14" fmla="*/ 916988 w 1132749"/>
              <a:gd name="connsiteY14" fmla="*/ 1348511 h 1348511"/>
              <a:gd name="connsiteX15" fmla="*/ 916988 w 1132749"/>
              <a:gd name="connsiteY15" fmla="*/ 1254115 h 1348511"/>
              <a:gd name="connsiteX16" fmla="*/ 876532 w 1132749"/>
              <a:gd name="connsiteY16" fmla="*/ 1254115 h 1348511"/>
              <a:gd name="connsiteX17" fmla="*/ 687741 w 1132749"/>
              <a:gd name="connsiteY17" fmla="*/ 1065324 h 1348511"/>
              <a:gd name="connsiteX18" fmla="*/ 687741 w 1132749"/>
              <a:gd name="connsiteY18" fmla="*/ 94396 h 1348511"/>
              <a:gd name="connsiteX19" fmla="*/ 701226 w 1132749"/>
              <a:gd name="connsiteY19" fmla="*/ 94396 h 1348511"/>
              <a:gd name="connsiteX20" fmla="*/ 1051839 w 1132749"/>
              <a:gd name="connsiteY20" fmla="*/ 445009 h 1348511"/>
              <a:gd name="connsiteX21" fmla="*/ 1051839 w 1132749"/>
              <a:gd name="connsiteY21" fmla="*/ 458494 h 1348511"/>
              <a:gd name="connsiteX22" fmla="*/ 1132749 w 1132749"/>
              <a:gd name="connsiteY22" fmla="*/ 458494 h 1348511"/>
              <a:gd name="connsiteX23" fmla="*/ 1132749 w 1132749"/>
              <a:gd name="connsiteY23" fmla="*/ 0 h 1348511"/>
              <a:gd name="connsiteX24" fmla="*/ 863047 w 1132749"/>
              <a:gd name="connsiteY24" fmla="*/ 890017 h 1348511"/>
              <a:gd name="connsiteX25" fmla="*/ 1132749 w 1132749"/>
              <a:gd name="connsiteY25" fmla="*/ 890017 h 1348511"/>
              <a:gd name="connsiteX26" fmla="*/ 1132749 w 1132749"/>
              <a:gd name="connsiteY26" fmla="*/ 620315 h 1348511"/>
              <a:gd name="connsiteX27" fmla="*/ 863047 w 1132749"/>
              <a:gd name="connsiteY27" fmla="*/ 620315 h 1348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132749" h="1348511">
                <a:moveTo>
                  <a:pt x="269702" y="890017"/>
                </a:moveTo>
                <a:lnTo>
                  <a:pt x="0" y="890017"/>
                </a:lnTo>
                <a:lnTo>
                  <a:pt x="0" y="620315"/>
                </a:lnTo>
                <a:lnTo>
                  <a:pt x="269702" y="620315"/>
                </a:lnTo>
                <a:close/>
                <a:moveTo>
                  <a:pt x="0" y="0"/>
                </a:moveTo>
                <a:lnTo>
                  <a:pt x="0" y="458494"/>
                </a:lnTo>
                <a:lnTo>
                  <a:pt x="80911" y="458494"/>
                </a:lnTo>
                <a:lnTo>
                  <a:pt x="80911" y="445009"/>
                </a:lnTo>
                <a:cubicBezTo>
                  <a:pt x="80911" y="229247"/>
                  <a:pt x="202277" y="94396"/>
                  <a:pt x="431524" y="94396"/>
                </a:cubicBezTo>
                <a:lnTo>
                  <a:pt x="445009" y="94396"/>
                </a:lnTo>
                <a:lnTo>
                  <a:pt x="445009" y="1065324"/>
                </a:lnTo>
                <a:cubicBezTo>
                  <a:pt x="445009" y="1200175"/>
                  <a:pt x="391068" y="1254115"/>
                  <a:pt x="256217" y="1254115"/>
                </a:cubicBezTo>
                <a:lnTo>
                  <a:pt x="215762" y="1254115"/>
                </a:lnTo>
                <a:lnTo>
                  <a:pt x="215762" y="1348511"/>
                </a:lnTo>
                <a:lnTo>
                  <a:pt x="916988" y="1348511"/>
                </a:lnTo>
                <a:lnTo>
                  <a:pt x="916988" y="1254115"/>
                </a:lnTo>
                <a:lnTo>
                  <a:pt x="876532" y="1254115"/>
                </a:lnTo>
                <a:cubicBezTo>
                  <a:pt x="741681" y="1254115"/>
                  <a:pt x="687741" y="1200175"/>
                  <a:pt x="687741" y="1065324"/>
                </a:cubicBezTo>
                <a:lnTo>
                  <a:pt x="687741" y="94396"/>
                </a:lnTo>
                <a:lnTo>
                  <a:pt x="701226" y="94396"/>
                </a:lnTo>
                <a:cubicBezTo>
                  <a:pt x="930473" y="94396"/>
                  <a:pt x="1051839" y="229247"/>
                  <a:pt x="1051839" y="445009"/>
                </a:cubicBezTo>
                <a:lnTo>
                  <a:pt x="1051839" y="458494"/>
                </a:lnTo>
                <a:lnTo>
                  <a:pt x="1132749" y="458494"/>
                </a:lnTo>
                <a:lnTo>
                  <a:pt x="1132749" y="0"/>
                </a:lnTo>
                <a:close/>
                <a:moveTo>
                  <a:pt x="863047" y="890017"/>
                </a:moveTo>
                <a:lnTo>
                  <a:pt x="1132749" y="890017"/>
                </a:lnTo>
                <a:lnTo>
                  <a:pt x="1132749" y="620315"/>
                </a:lnTo>
                <a:lnTo>
                  <a:pt x="863047" y="620315"/>
                </a:lnTo>
                <a:close/>
              </a:path>
            </a:pathLst>
          </a:custGeom>
          <a:solidFill>
            <a:srgbClr val="FFFFFF"/>
          </a:solidFill>
          <a:ln w="134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655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448F61-D78C-421D-8277-7D2014B0B6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800" b="1" dirty="0"/>
              <a:t>Multiple linear regression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Only average effect (no local effect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Problem of differently scaled covariat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How about dummies if covariates are standardized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ssumption of monotonous effect, linear relationship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dding interactions can be computationally costl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  <a:p>
            <a:r>
              <a:rPr lang="en-GB" sz="2000" b="1" dirty="0"/>
              <a:t> How about complex models?</a:t>
            </a:r>
            <a:endParaRPr lang="cs-CZ" sz="2000" b="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D2EC0C-A04C-4666-ACDD-3CA63BF79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se of </a:t>
            </a:r>
            <a:r>
              <a:rPr lang="en-GB" dirty="0" err="1"/>
              <a:t>Explainability</a:t>
            </a:r>
            <a:endParaRPr lang="cs-CZ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BCEAAE-C5EF-4DDE-A747-00132E9612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2450" y="1264981"/>
            <a:ext cx="3694616" cy="220596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81DED86-B345-45CD-B329-F7D306F180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2450" y="3740844"/>
            <a:ext cx="3694616" cy="2205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4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559D96-ADD6-4FFB-99B3-B17BB6ED74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en-GB" dirty="0"/>
              <a:t>“</a:t>
            </a:r>
            <a:r>
              <a:rPr lang="en-GB" dirty="0" err="1"/>
              <a:t>SHapley</a:t>
            </a:r>
            <a:r>
              <a:rPr lang="en-GB" dirty="0"/>
              <a:t> Additive </a:t>
            </a:r>
            <a:r>
              <a:rPr lang="en-GB" dirty="0" err="1"/>
              <a:t>exPlanations</a:t>
            </a:r>
            <a:r>
              <a:rPr lang="en-GB" dirty="0"/>
              <a:t>”</a:t>
            </a:r>
          </a:p>
          <a:p>
            <a:pPr marL="285750" indent="-285750">
              <a:buFontTx/>
              <a:buChar char="-"/>
            </a:pPr>
            <a:r>
              <a:rPr lang="en-GB" dirty="0"/>
              <a:t>Standard approach towards </a:t>
            </a:r>
            <a:r>
              <a:rPr lang="en-GB" dirty="0" err="1"/>
              <a:t>explainability</a:t>
            </a:r>
            <a:r>
              <a:rPr lang="en-GB" dirty="0"/>
              <a:t> of complex models</a:t>
            </a:r>
          </a:p>
          <a:p>
            <a:pPr marL="285750" indent="-285750">
              <a:buFontTx/>
              <a:buChar char="-"/>
            </a:pPr>
            <a:r>
              <a:rPr lang="en-GB" dirty="0"/>
              <a:t>Based on “resampling” techniques over the whole sample given the observation </a:t>
            </a:r>
          </a:p>
          <a:p>
            <a:r>
              <a:rPr lang="en-GB" dirty="0"/>
              <a:t>	characteristics</a:t>
            </a:r>
          </a:p>
          <a:p>
            <a:endParaRPr lang="en-GB" dirty="0"/>
          </a:p>
          <a:p>
            <a:pPr marL="285750" indent="-285750">
              <a:buFontTx/>
              <a:buChar char="-"/>
            </a:pPr>
            <a:r>
              <a:rPr lang="en-GB" dirty="0"/>
              <a:t>Concept introduced by Lloyd Shapley in his work on Game Theory</a:t>
            </a:r>
          </a:p>
          <a:p>
            <a:pPr marL="285750" indent="-285750">
              <a:buFontTx/>
              <a:buChar char="-"/>
            </a:pPr>
            <a:r>
              <a:rPr lang="en-GB" dirty="0"/>
              <a:t>“How much does a particular member of coalition contribute to the outcome?”</a:t>
            </a:r>
          </a:p>
          <a:p>
            <a:pPr marL="285750" indent="-285750">
              <a:buFontTx/>
              <a:buChar char="-"/>
            </a:pPr>
            <a:r>
              <a:rPr lang="en-GB" dirty="0">
                <a:hlinkClick r:id="rId2"/>
              </a:rPr>
              <a:t>Lundberg et al. 2017</a:t>
            </a:r>
            <a:r>
              <a:rPr lang="en-GB" dirty="0"/>
              <a:t> → SHAP </a:t>
            </a:r>
          </a:p>
          <a:p>
            <a:pPr marL="285750" indent="-285750">
              <a:buFontTx/>
              <a:buChar char="-"/>
            </a:pPr>
            <a:endParaRPr lang="en-GB" dirty="0"/>
          </a:p>
          <a:p>
            <a:pPr marL="285750" indent="-285750">
              <a:buFontTx/>
              <a:buChar char="-"/>
            </a:pPr>
            <a:endParaRPr lang="cs-CZ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94F5FB-A1A8-451F-B059-A4BA17BB35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 values </a:t>
            </a:r>
            <a:endParaRPr lang="cs-CZ" dirty="0"/>
          </a:p>
        </p:txBody>
      </p:sp>
      <p:sp>
        <p:nvSpPr>
          <p:cNvPr id="7" name="AutoShape 2" descr="Lloyd Shapley">
            <a:extLst>
              <a:ext uri="{FF2B5EF4-FFF2-40B4-BE49-F238E27FC236}">
                <a16:creationId xmlns:a16="http://schemas.microsoft.com/office/drawing/2014/main" id="{DE2F2162-78B6-4228-80C7-594AEE66F96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08638" y="308768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E8986AF-9B1B-41E5-A5D7-86BB480401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6671" y="1263412"/>
            <a:ext cx="3173504" cy="1652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109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DAD7F6D-B3DB-4177-9F25-0EDA5482E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enefits of SHAP</a:t>
            </a:r>
            <a:endParaRPr lang="cs-CZ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759186B-F4F3-467A-9481-59F8ECFA23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TeleNeo Office" panose="020B0504040202090203" pitchFamily="34" charset="0"/>
              <a:buChar char="+"/>
            </a:pPr>
            <a:r>
              <a:rPr lang="en-GB" dirty="0"/>
              <a:t>Reverse engineering (once you have the BEST model, you can start explain, no need to sacrifice predictive ability)</a:t>
            </a:r>
          </a:p>
          <a:p>
            <a:pPr marL="285750" indent="-285750">
              <a:buFont typeface="TeleNeo Office" panose="020B0504040202090203" pitchFamily="34" charset="0"/>
              <a:buChar char="+"/>
            </a:pPr>
            <a:r>
              <a:rPr lang="en-GB" dirty="0"/>
              <a:t>Marginal contributions are normalized and easily comparable (however no real-word metric is used)</a:t>
            </a:r>
          </a:p>
          <a:p>
            <a:pPr marL="285750" indent="-285750">
              <a:buFont typeface="TeleNeo Office" panose="020B0504040202090203" pitchFamily="34" charset="0"/>
              <a:buChar char="+"/>
            </a:pPr>
            <a:r>
              <a:rPr lang="en-GB" dirty="0"/>
              <a:t>Allows non-linear effects</a:t>
            </a:r>
          </a:p>
          <a:p>
            <a:pPr marL="285750" indent="-285750">
              <a:buFont typeface="TeleNeo Office" panose="020B0504040202090203" pitchFamily="34" charset="0"/>
              <a:buChar char="+"/>
            </a:pPr>
            <a:r>
              <a:rPr lang="en-GB" dirty="0"/>
              <a:t>Possible even for complex models</a:t>
            </a:r>
            <a:endParaRPr lang="cs-CZ" dirty="0"/>
          </a:p>
          <a:p>
            <a:pPr marL="285750" indent="-285750">
              <a:buFont typeface="TeleNeo Office" panose="020B0504040202090203" pitchFamily="34" charset="0"/>
              <a:buChar char="+"/>
            </a:pPr>
            <a:endParaRPr lang="cs-CZ" dirty="0"/>
          </a:p>
          <a:p>
            <a:pPr marL="285750" indent="-285750">
              <a:buFont typeface="TeleNeo Office" panose="020B0504040202090203" pitchFamily="34" charset="0"/>
              <a:buChar char="-"/>
            </a:pPr>
            <a:r>
              <a:rPr lang="cs-CZ" dirty="0" err="1"/>
              <a:t>Requires</a:t>
            </a:r>
            <a:r>
              <a:rPr lang="cs-CZ" dirty="0"/>
              <a:t> to </a:t>
            </a:r>
            <a:r>
              <a:rPr lang="cs-CZ" dirty="0" err="1"/>
              <a:t>train</a:t>
            </a:r>
            <a:r>
              <a:rPr lang="cs-CZ" dirty="0"/>
              <a:t> 2</a:t>
            </a:r>
            <a:r>
              <a:rPr lang="en-GB" dirty="0"/>
              <a:t>^</a:t>
            </a:r>
            <a:r>
              <a:rPr lang="en-GB" dirty="0" err="1"/>
              <a:t>n_FEATURES</a:t>
            </a:r>
            <a:r>
              <a:rPr lang="en-GB" dirty="0"/>
              <a:t> models → Approximations</a:t>
            </a:r>
          </a:p>
          <a:p>
            <a:pPr marL="285750" indent="-285750">
              <a:buFont typeface="TeleNeo Office" panose="020B0504040202090203" pitchFamily="34" charset="0"/>
              <a:buChar char="-"/>
            </a:pPr>
            <a:r>
              <a:rPr lang="en-GB" dirty="0"/>
              <a:t>Non applicable under autocorrelation (please correct me if I’m wrong)</a:t>
            </a:r>
          </a:p>
          <a:p>
            <a:pPr marL="285750" indent="-285750">
              <a:buFont typeface="TeleNeo Office" panose="020B0504040202090203" pitchFamily="34" charset="0"/>
              <a:buChar char="-"/>
            </a:pPr>
            <a:endParaRPr lang="en-GB" dirty="0"/>
          </a:p>
          <a:p>
            <a:pPr marL="285750" indent="-285750">
              <a:buFont typeface="TeleNeo Office" panose="020B0504040202090203" pitchFamily="34" charset="0"/>
              <a:buChar char="+"/>
            </a:pPr>
            <a:endParaRPr lang="en-GB" dirty="0"/>
          </a:p>
          <a:p>
            <a:pPr marL="285750" indent="-285750">
              <a:buFont typeface="TeleNeo Office" panose="020B0504040202090203" pitchFamily="34" charset="0"/>
              <a:buChar char="-"/>
            </a:pPr>
            <a:endParaRPr lang="en-GB" dirty="0"/>
          </a:p>
          <a:p>
            <a:pPr marL="285750" indent="-285750">
              <a:buFont typeface="TeleNeo Office" panose="020B0504040202090203" pitchFamily="34" charset="0"/>
              <a:buChar char="-"/>
            </a:pPr>
            <a:endParaRPr lang="en-GB" dirty="0"/>
          </a:p>
          <a:p>
            <a:pPr marL="285750" indent="-285750">
              <a:buFont typeface="TeleNeo Office" panose="020B0504040202090203" pitchFamily="34" charset="0"/>
              <a:buChar char="+"/>
            </a:pPr>
            <a:endParaRPr lang="en-GB" dirty="0"/>
          </a:p>
          <a:p>
            <a:pPr marL="285750" indent="-285750">
              <a:buFontTx/>
              <a:buChar char="-"/>
            </a:pPr>
            <a:endParaRPr lang="cs-CZ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D422EC-C209-48BC-9E25-8F362B421B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1657" y="2253726"/>
            <a:ext cx="3988087" cy="3109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62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F5D39C-272B-4579-BD14-1206A85D662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11477" y="1388377"/>
            <a:ext cx="10698407" cy="4165131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GB" dirty="0"/>
              <a:t>Easy-to-Build frontend to explore the models’ interpretability </a:t>
            </a:r>
          </a:p>
          <a:p>
            <a:pPr marL="285750" indent="-285750">
              <a:buFontTx/>
              <a:buChar char="-"/>
            </a:pPr>
            <a:r>
              <a:rPr lang="en-GB" dirty="0"/>
              <a:t>Employs SHAP values and standard metrics for multiple </a:t>
            </a:r>
            <a:r>
              <a:rPr lang="en-GB" dirty="0" err="1"/>
              <a:t>sklearn</a:t>
            </a:r>
            <a:r>
              <a:rPr lang="en-GB" dirty="0"/>
              <a:t>-type models</a:t>
            </a:r>
          </a:p>
          <a:p>
            <a:endParaRPr lang="cs-CZ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FE69A1-F600-4D14-A5AE-5A1DCD84C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78" y="240653"/>
            <a:ext cx="10698405" cy="503999"/>
          </a:xfrm>
        </p:spPr>
        <p:txBody>
          <a:bodyPr wrap="square" anchor="t">
            <a:normAutofit/>
          </a:bodyPr>
          <a:lstStyle/>
          <a:p>
            <a:r>
              <a:rPr lang="en-GB" sz="3400" dirty="0"/>
              <a:t>Explainer Dashboards</a:t>
            </a:r>
            <a:endParaRPr lang="cs-CZ" sz="3400" dirty="0"/>
          </a:p>
        </p:txBody>
      </p:sp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E68EE3F-6FB1-4CFF-8B6B-110A720504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22032" y="4025957"/>
            <a:ext cx="3492372" cy="132075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D39D55A-D216-42E1-977E-EC9B50A1438C}"/>
              </a:ext>
            </a:extLst>
          </p:cNvPr>
          <p:cNvSpPr/>
          <p:nvPr/>
        </p:nvSpPr>
        <p:spPr bwMode="gray">
          <a:xfrm>
            <a:off x="7022032" y="1999372"/>
            <a:ext cx="3492372" cy="1885617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cs-CZ" sz="1800" dirty="0">
              <a:cs typeface="Arial Unicode MS" panose="020B0604020202020204" pitchFamily="34" charset="-128"/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E27AA282-3E9B-4685-B9E0-5389B33B67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0346" y="2091044"/>
            <a:ext cx="2995743" cy="1612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0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BC9CCF7-294C-4FAE-8B5E-ECD5F9BB66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cs-CZ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62196F9-94CB-4FAB-B7F7-01E537A53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rther resources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56807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DTSE_MASTER_4-3_DE_20161213">
  <a:themeElements>
    <a:clrScheme name="Benutzerdefiniert 1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T Standard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no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F6B3099D-9B3A-42A4-A0EB-E15FCE7621AB}" vid="{E0D34E02-4655-44F2-B49C-E5354E6B7B75}"/>
    </a:ext>
  </a:extLst>
</a:theme>
</file>

<file path=ppt/theme/theme2.xml><?xml version="1.0" encoding="utf-8"?>
<a:theme xmlns:a="http://schemas.openxmlformats.org/drawingml/2006/main" name="Telekom – Puzzle (06/2021) EN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Presentation1" id="{F6B3099D-9B3A-42A4-A0EB-E15FCE7621AB}" vid="{9D50814A-D919-4031-BA0F-FF76098B1952}"/>
    </a:ext>
  </a:extLst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7733A76DD1E2446AB55320AB4D9A861" ma:contentTypeVersion="16" ma:contentTypeDescription="Ein neues Dokument erstellen." ma:contentTypeScope="" ma:versionID="21df5c9b64ec3d9bf0d32b7e5ca468ca">
  <xsd:schema xmlns:xsd="http://www.w3.org/2001/XMLSchema" xmlns:xs="http://www.w3.org/2001/XMLSchema" xmlns:p="http://schemas.microsoft.com/office/2006/metadata/properties" xmlns:ns2="d3941db7-e847-4eec-93a0-2a73614400cd" xmlns:ns3="cca428f8-9d0f-452b-a6c3-d925fc6099da" targetNamespace="http://schemas.microsoft.com/office/2006/metadata/properties" ma:root="true" ma:fieldsID="33ef96356ee86504e68d45e1a5ea811c" ns2:_="" ns3:_="">
    <xsd:import namespace="d3941db7-e847-4eec-93a0-2a73614400cd"/>
    <xsd:import namespace="cca428f8-9d0f-452b-a6c3-d925fc6099d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941db7-e847-4eec-93a0-2a73614400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55a6c181-b3a6-4e6d-958a-84db063416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a428f8-9d0f-452b-a6c3-d925fc6099d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b6b857a-230c-4587-8182-cd9e1949013c}" ma:internalName="TaxCatchAll" ma:showField="CatchAllData" ma:web="cca428f8-9d0f-452b-a6c3-d925fc6099d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3941db7-e847-4eec-93a0-2a73614400cd">
      <Terms xmlns="http://schemas.microsoft.com/office/infopath/2007/PartnerControls"/>
    </lcf76f155ced4ddcb4097134ff3c332f>
    <TaxCatchAll xmlns="cca428f8-9d0f-452b-a6c3-d925fc6099da" xsi:nil="true"/>
  </documentManagement>
</p:properties>
</file>

<file path=customXml/itemProps1.xml><?xml version="1.0" encoding="utf-8"?>
<ds:datastoreItem xmlns:ds="http://schemas.openxmlformats.org/officeDocument/2006/customXml" ds:itemID="{A992F592-9B14-4A6F-B1BE-BE7C42D54F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3941db7-e847-4eec-93a0-2a73614400cd"/>
    <ds:schemaRef ds:uri="cca428f8-9d0f-452b-a6c3-d925fc6099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67CACED-44FF-49AA-A879-1D37F8FB85C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4B2DECD-4BBE-4C18-8387-A6BE446CC22E}">
  <ds:schemaRefs>
    <ds:schemaRef ds:uri="http://schemas.microsoft.com/office/2006/metadata/properties"/>
    <ds:schemaRef ds:uri="http://schemas.microsoft.com/office/infopath/2007/PartnerControls"/>
    <ds:schemaRef ds:uri="d3941db7-e847-4eec-93a0-2a73614400cd"/>
    <ds:schemaRef ds:uri="cca428f8-9d0f-452b-a6c3-d925fc6099d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I Shared Services</Template>
  <TotalTime>0</TotalTime>
  <Words>216</Words>
  <Application>Microsoft Office PowerPoint</Application>
  <PresentationFormat>Custom</PresentationFormat>
  <Paragraphs>42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8" baseType="lpstr">
      <vt:lpstr>Arial</vt:lpstr>
      <vt:lpstr>TeleGrotesk Headline Ultra</vt:lpstr>
      <vt:lpstr>Tele-GroteskFet</vt:lpstr>
      <vt:lpstr>Tele-GroteskNor</vt:lpstr>
      <vt:lpstr>Tele-GroteskUlt</vt:lpstr>
      <vt:lpstr>TeleNeo Office</vt:lpstr>
      <vt:lpstr>TeleNeo Office ExtraBold</vt:lpstr>
      <vt:lpstr>Wingdings</vt:lpstr>
      <vt:lpstr>Wingdings 2</vt:lpstr>
      <vt:lpstr>5_DTSE_MASTER_4-3_DE_20161213</vt:lpstr>
      <vt:lpstr>Telekom – Puzzle (06/2021) EN</vt:lpstr>
      <vt:lpstr>think-cell Folie</vt:lpstr>
      <vt:lpstr>Explainer Dashboard Demo Štěpán Vondráček</vt:lpstr>
      <vt:lpstr>Curse of Explainability</vt:lpstr>
      <vt:lpstr>SHAP values </vt:lpstr>
      <vt:lpstr>Benefits of SHAP</vt:lpstr>
      <vt:lpstr>Explainer Dashboards</vt:lpstr>
      <vt:lpstr>Further 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plainer Dashboard Demo Štěpán Vondráček</dc:title>
  <dc:creator>Vondráček, Štěpán</dc:creator>
  <cp:lastModifiedBy>Vondráček, Štěpán</cp:lastModifiedBy>
  <cp:revision>2</cp:revision>
  <dcterms:created xsi:type="dcterms:W3CDTF">2022-11-28T18:08:29Z</dcterms:created>
  <dcterms:modified xsi:type="dcterms:W3CDTF">2023-03-25T16:4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29036098C5B94DBCE62D9CBB22F8D1</vt:lpwstr>
  </property>
</Properties>
</file>